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png" ContentType="image/png"/>
  <Default Extension="rels" ContentType="application/vnd.openxmlformats-package.relationships+xml"/>
  <Default Extension="emf" ContentType="image/x-em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erverZoom="100000" strictFirstAndLastChars="0" saveSubsetFonts="1" autoCompressPictures="0">
  <p:sldMasterIdLst>
    <p:sldMasterId id="2147483648" r:id="rId1"/>
    <p:sldMasterId id="2147483649" r:id="rId2"/>
    <p:sldMasterId id="2147483651" r:id="rId3"/>
  </p:sldMasterIdLst>
  <p:notesMasterIdLst>
    <p:notesMasterId r:id="rId13"/>
  </p:notesMasterIdLst>
  <p:sldIdLst>
    <p:sldId id="404" r:id="rId4"/>
    <p:sldId id="377" r:id="rId5"/>
    <p:sldId id="385" r:id="rId6"/>
    <p:sldId id="402" r:id="rId7"/>
    <p:sldId id="415" r:id="rId8"/>
    <p:sldId id="414" r:id="rId9"/>
    <p:sldId id="405" r:id="rId10"/>
    <p:sldId id="406" r:id="rId11"/>
    <p:sldId id="293" r:id="rId12"/>
  </p:sldIdLst>
  <p:sldSz cx="24384000" cy="13716000"/>
  <p:notesSz cx="6858000" cy="9144000"/>
  <p:defaultTextStyle>
    <a:defPPr>
      <a:defRPr lang="en-US"/>
    </a:defPPr>
    <a:lvl1pPr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1pPr>
    <a:lvl2pPr marL="457200" indent="-2286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2pPr>
    <a:lvl3pPr marL="914400" indent="-4572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3pPr>
    <a:lvl4pPr marL="1371600" indent="-6858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4pPr>
    <a:lvl5pPr marL="1828800" indent="-914400" algn="ctr" defTabSz="825500" rtl="0" fontAlgn="base" hangingPunct="0">
      <a:lnSpc>
        <a:spcPct val="120000"/>
      </a:lnSpc>
      <a:spcBef>
        <a:spcPct val="0"/>
      </a:spcBef>
      <a:spcAft>
        <a:spcPct val="0"/>
      </a:spcAft>
      <a:defRPr sz="2000" kern="1200">
        <a:solidFill>
          <a:srgbClr val="202020"/>
        </a:solidFill>
        <a:latin typeface="Verdana" charset="0"/>
        <a:ea typeface="ＭＳ Ｐゴシック" charset="0"/>
        <a:cs typeface="ＭＳ Ｐゴシック" charset="0"/>
        <a:sym typeface="Verdana" charset="0"/>
      </a:defRPr>
    </a:lvl5pPr>
    <a:lvl6pPr marL="22860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6pPr>
    <a:lvl7pPr marL="27432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7pPr>
    <a:lvl8pPr marL="32004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8pPr>
    <a:lvl9pPr marL="3657600" algn="l" defTabSz="457200" rtl="0" eaLnBrk="1" latinLnBrk="0" hangingPunct="1">
      <a:defRPr sz="2000" kern="1200">
        <a:solidFill>
          <a:srgbClr val="202020"/>
        </a:solidFill>
        <a:latin typeface="Verdana" charset="0"/>
        <a:ea typeface="ＭＳ Ｐゴシック" charset="0"/>
        <a:cs typeface="ＭＳ Ｐゴシック" charset="0"/>
        <a:sym typeface="Verdana" charset="0"/>
      </a:defRPr>
    </a:lvl9pPr>
  </p:defaultTextStyle>
  <p:extLst>
    <p:ext uri="{EFAFB233-063F-42B5-8137-9DF3F51BA10A}">
      <p15:sldGuideLst xmlns:p15="http://schemas.microsoft.com/office/powerpoint/2012/main" xmlns="">
        <p15:guide id="1" orient="horz" pos="4320">
          <p15:clr>
            <a:srgbClr val="A4A3A4"/>
          </p15:clr>
        </p15:guide>
        <p15:guide id="2" pos="76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8E8E8"/>
    <a:srgbClr val="88C2DE"/>
    <a:srgbClr val="0480BA"/>
    <a:srgbClr val="246EA8"/>
    <a:srgbClr val="FF8000"/>
    <a:srgbClr val="00A235"/>
    <a:srgbClr val="C20202"/>
    <a:srgbClr val="0DD312"/>
    <a:srgbClr val="49FF3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0"/>
    <p:restoredTop sz="96659" autoAdjust="0"/>
  </p:normalViewPr>
  <p:slideViewPr>
    <p:cSldViewPr>
      <p:cViewPr varScale="1">
        <p:scale>
          <a:sx n="54" d="100"/>
          <a:sy n="54" d="100"/>
        </p:scale>
        <p:origin x="-624" y="-112"/>
      </p:cViewPr>
      <p:guideLst>
        <p:guide orient="horz" pos="4320"/>
        <p:guide pos="76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1" Type="http://schemas.openxmlformats.org/officeDocument/2006/relationships/slide" Target="slides/slide8.xml"/><Relationship Id="rId12" Type="http://schemas.openxmlformats.org/officeDocument/2006/relationships/slide" Target="slides/slide9.xml"/><Relationship Id="rId13" Type="http://schemas.openxmlformats.org/officeDocument/2006/relationships/notesMaster" Target="notesMasters/notesMaster1.xml"/><Relationship Id="rId14" Type="http://schemas.openxmlformats.org/officeDocument/2006/relationships/printerSettings" Target="printerSettings/printerSettings1.bin"/><Relationship Id="rId15" Type="http://schemas.openxmlformats.org/officeDocument/2006/relationships/presProps" Target="presProps.xml"/><Relationship Id="rId16" Type="http://schemas.openxmlformats.org/officeDocument/2006/relationships/viewProps" Target="viewProps.xml"/><Relationship Id="rId17" Type="http://schemas.openxmlformats.org/officeDocument/2006/relationships/theme" Target="theme/theme1.xml"/><Relationship Id="rId18"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 Target="slides/slide1.xml"/><Relationship Id="rId5" Type="http://schemas.openxmlformats.org/officeDocument/2006/relationships/slide" Target="slides/slide2.xml"/><Relationship Id="rId6" Type="http://schemas.openxmlformats.org/officeDocument/2006/relationships/slide" Target="slides/slide3.xml"/><Relationship Id="rId7" Type="http://schemas.openxmlformats.org/officeDocument/2006/relationships/slide" Target="slides/slide4.xml"/><Relationship Id="rId8" Type="http://schemas.openxmlformats.org/officeDocument/2006/relationships/slide" Target="slides/slide5.xml"/><Relationship Id="rId9" Type="http://schemas.openxmlformats.org/officeDocument/2006/relationships/slide" Target="slides/slide6.xml"/><Relationship Id="rId10"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D2DC9C9-CCF8-6D47-A8AF-7E8440F609A2}" type="doc">
      <dgm:prSet loTypeId="urn:microsoft.com/office/officeart/2005/8/layout/hierarchy1" loCatId="" qsTypeId="urn:microsoft.com/office/officeart/2005/8/quickstyle/3D4" qsCatId="3D" csTypeId="urn:microsoft.com/office/officeart/2005/8/colors/accent1_2" csCatId="accent1" phldr="1"/>
      <dgm:spPr/>
      <dgm:t>
        <a:bodyPr/>
        <a:lstStyle/>
        <a:p>
          <a:endParaRPr lang="en-US"/>
        </a:p>
      </dgm:t>
    </dgm:pt>
    <dgm:pt modelId="{976E4913-3013-D542-B94C-5F195A6724B7}">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1" dirty="0" smtClean="0">
              <a:solidFill>
                <a:schemeClr val="accent1">
                  <a:lumMod val="50000"/>
                </a:schemeClr>
              </a:solidFill>
              <a:effectLst>
                <a:outerShdw blurRad="50800" dist="38100" dir="2700000" algn="tl" rotWithShape="0">
                  <a:prstClr val="black">
                    <a:alpha val="40000"/>
                  </a:prstClr>
                </a:outerShdw>
              </a:effectLst>
            </a:rPr>
            <a:t> </a:t>
          </a:r>
          <a:r>
            <a:rPr lang="en-US" b="0" dirty="0" smtClean="0">
              <a:solidFill>
                <a:schemeClr val="accent1">
                  <a:lumMod val="50000"/>
                </a:schemeClr>
              </a:solidFill>
              <a:effectLst>
                <a:outerShdw blurRad="50800" dist="38100" dir="2700000" algn="tl" rotWithShape="0">
                  <a:prstClr val="black">
                    <a:alpha val="40000"/>
                  </a:prstClr>
                </a:outerShdw>
              </a:effectLst>
            </a:rPr>
            <a:t>$2.0m</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84BCC4DA-0C9B-9840-AE25-C39D2CEBB720}" type="parTrans" cxnId="{AE41E93C-8516-5342-A4E3-DFA0200A343B}">
      <dgm:prSet/>
      <dgm:spPr/>
      <dgm:t>
        <a:bodyPr/>
        <a:lstStyle/>
        <a:p>
          <a:endParaRPr lang="en-US"/>
        </a:p>
      </dgm:t>
    </dgm:pt>
    <dgm:pt modelId="{1EA03C99-4980-B54B-B863-97E3E8430D8C}" type="sibTrans" cxnId="{AE41E93C-8516-5342-A4E3-DFA0200A343B}">
      <dgm:prSet/>
      <dgm:spPr/>
      <dgm:t>
        <a:bodyPr/>
        <a:lstStyle/>
        <a:p>
          <a:endParaRPr lang="en-US"/>
        </a:p>
      </dgm:t>
    </dgm:pt>
    <dgm:pt modelId="{2A39EBA1-2F93-5142-937C-314A1010ED3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Revenue Per Visitor:</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1.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2DF65173-E2F5-F64A-B40C-98384386255A}" type="parTrans" cxnId="{B807CD84-65C2-6D48-B742-4D6C6154D9E3}">
      <dgm:prSet/>
      <dgm:spPr/>
      <dgm:t>
        <a:bodyPr/>
        <a:lstStyle/>
        <a:p>
          <a:endParaRPr lang="en-US"/>
        </a:p>
      </dgm:t>
    </dgm:pt>
    <dgm:pt modelId="{1EF18E59-6D25-3443-A842-04859CF4EFDE}" type="sibTrans" cxnId="{B807CD84-65C2-6D48-B742-4D6C6154D9E3}">
      <dgm:prSet/>
      <dgm:spPr/>
      <dgm:t>
        <a:bodyPr/>
        <a:lstStyle/>
        <a:p>
          <a:endParaRPr lang="en-US"/>
        </a:p>
      </dgm:t>
    </dgm:pt>
    <dgm:pt modelId="{44407743-FA8C-3841-943E-4FC86D85CCD9}">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Visitors:</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m</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9381EFED-55ED-EB40-BFBF-E3D20E39599B}" type="parTrans" cxnId="{14322F85-A2F5-E84D-A1EF-B4C262155297}">
      <dgm:prSet/>
      <dgm:spPr/>
      <dgm:t>
        <a:bodyPr/>
        <a:lstStyle/>
        <a:p>
          <a:endParaRPr lang="en-US"/>
        </a:p>
      </dgm:t>
    </dgm:pt>
    <dgm:pt modelId="{7A81C806-E05F-A74A-998E-B0EB6B022A63}" type="sibTrans" cxnId="{14322F85-A2F5-E84D-A1EF-B4C262155297}">
      <dgm:prSet/>
      <dgm:spPr/>
      <dgm:t>
        <a:bodyPr/>
        <a:lstStyle/>
        <a:p>
          <a:endParaRPr lang="en-US"/>
        </a:p>
      </dgm:t>
    </dgm:pt>
    <dgm:pt modelId="{6199E3C3-062C-F241-B17E-C01235C54BF5}">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acquisition:</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1.5m</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1732B170-B9E5-8745-A394-50C5CD9598D2}" type="parTrans" cxnId="{BEFF8E41-1FA3-754D-BB1A-BB8ADA37B9BC}">
      <dgm:prSet/>
      <dgm:spPr/>
      <dgm:t>
        <a:bodyPr/>
        <a:lstStyle/>
        <a:p>
          <a:endParaRPr lang="en-US"/>
        </a:p>
      </dgm:t>
    </dgm:pt>
    <dgm:pt modelId="{E0A7A375-BF54-964C-86BB-66D1D89B52FD}" type="sibTrans" cxnId="{BEFF8E41-1FA3-754D-BB1A-BB8ADA37B9BC}">
      <dgm:prSet/>
      <dgm:spPr/>
      <dgm:t>
        <a:bodyPr/>
        <a:lstStyle/>
        <a:p>
          <a:endParaRPr lang="en-US"/>
        </a:p>
      </dgm:t>
    </dgm:pt>
    <dgm:pt modelId="{184ACB9C-DDC8-4345-B724-0DDDFC50ECA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Order Valu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50.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5D82BF99-9764-454A-870A-B3235B2BB2CB}" type="parTrans" cxnId="{0585C621-BA38-2449-8E8B-796FB46E0182}">
      <dgm:prSet/>
      <dgm:spPr/>
      <dgm:t>
        <a:bodyPr/>
        <a:lstStyle/>
        <a:p>
          <a:endParaRPr lang="en-US"/>
        </a:p>
      </dgm:t>
    </dgm:pt>
    <dgm:pt modelId="{BDCBA3D6-C501-0A47-88CA-72E8E5C02827}" type="sibTrans" cxnId="{0585C621-BA38-2449-8E8B-796FB46E0182}">
      <dgm:prSet/>
      <dgm:spPr/>
      <dgm:t>
        <a:bodyPr/>
        <a:lstStyle/>
        <a:p>
          <a:endParaRPr lang="en-US"/>
        </a:p>
      </dgm:t>
    </dgm:pt>
    <dgm:pt modelId="{3949C127-D417-5447-960D-9A31732C76A6}">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onversion Rat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97F00291-484C-9643-BB48-501572165824}" type="parTrans" cxnId="{3E44F089-2635-AF49-B541-787582491816}">
      <dgm:prSet/>
      <dgm:spPr/>
      <dgm:t>
        <a:bodyPr/>
        <a:lstStyle/>
        <a:p>
          <a:endParaRPr lang="en-US"/>
        </a:p>
      </dgm:t>
    </dgm:pt>
    <dgm:pt modelId="{6B0EF262-C553-C64C-A1AF-8F442A059D90}" type="sibTrans" cxnId="{3E44F089-2635-AF49-B541-787582491816}">
      <dgm:prSet/>
      <dgm:spPr/>
      <dgm:t>
        <a:bodyPr/>
        <a:lstStyle/>
        <a:p>
          <a:endParaRPr lang="en-US"/>
        </a:p>
      </dgm:t>
    </dgm:pt>
    <dgm:pt modelId="{02450672-1453-674F-9568-6D7583B183B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dd to Cart</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4B0DD293-0C83-8647-AD12-E85C913CFE01}" type="parTrans" cxnId="{86040578-F333-9840-9B65-1F28B3ECD03C}">
      <dgm:prSet/>
      <dgm:spPr/>
      <dgm:t>
        <a:bodyPr/>
        <a:lstStyle/>
        <a:p>
          <a:endParaRPr lang="en-US"/>
        </a:p>
      </dgm:t>
    </dgm:pt>
    <dgm:pt modelId="{952FA72D-BF7D-D649-9097-85E160A252FA}" type="sibTrans" cxnId="{86040578-F333-9840-9B65-1F28B3ECD03C}">
      <dgm:prSet/>
      <dgm:spPr/>
      <dgm:t>
        <a:bodyPr/>
        <a:lstStyle/>
        <a:p>
          <a:endParaRPr lang="en-US"/>
        </a:p>
      </dgm:t>
    </dgm:pt>
    <dgm:pt modelId="{90DECB6B-6422-BE49-B301-A3E12E66236F}">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Cart Checkout Rate</a:t>
          </a:r>
          <a:endParaRPr lang="en-US" b="1" dirty="0">
            <a:solidFill>
              <a:schemeClr val="accent1">
                <a:lumMod val="50000"/>
              </a:schemeClr>
            </a:solidFill>
            <a:effectLst>
              <a:outerShdw blurRad="50800" dist="38100" dir="2700000" algn="tl" rotWithShape="0">
                <a:prstClr val="black">
                  <a:alpha val="40000"/>
                </a:prstClr>
              </a:outerShdw>
            </a:effectLst>
          </a:endParaRPr>
        </a:p>
      </dgm:t>
    </dgm:pt>
    <dgm:pt modelId="{A2AF27BC-FA34-6E4F-8DB7-4D55D30B4731}" type="parTrans" cxnId="{024E7B52-F85E-7D45-BE35-19A81F8265A9}">
      <dgm:prSet/>
      <dgm:spPr/>
      <dgm:t>
        <a:bodyPr/>
        <a:lstStyle/>
        <a:p>
          <a:endParaRPr lang="en-US"/>
        </a:p>
      </dgm:t>
    </dgm:pt>
    <dgm:pt modelId="{0ACE4F66-ABF0-3C43-833C-FF3059225E1E}" type="sibTrans" cxnId="{024E7B52-F85E-7D45-BE35-19A81F8265A9}">
      <dgm:prSet/>
      <dgm:spPr/>
      <dgm:t>
        <a:bodyPr/>
        <a:lstStyle/>
        <a:p>
          <a:endParaRPr lang="en-US"/>
        </a:p>
      </dgm:t>
    </dgm:pt>
    <dgm:pt modelId="{03CF68B1-6741-C14E-A767-3EEC640D027A}">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quantity:</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30C25A4A-E4DC-3941-B63A-4538CE0511E0}" type="parTrans" cxnId="{5A589717-ECE6-0644-8377-615482939D2A}">
      <dgm:prSet/>
      <dgm:spPr/>
      <dgm:t>
        <a:bodyPr/>
        <a:lstStyle/>
        <a:p>
          <a:endParaRPr lang="en-US"/>
        </a:p>
      </dgm:t>
    </dgm:pt>
    <dgm:pt modelId="{8024D8B6-01B5-454C-9678-8CF31DA62376}" type="sibTrans" cxnId="{5A589717-ECE6-0644-8377-615482939D2A}">
      <dgm:prSet/>
      <dgm:spPr/>
      <dgm:t>
        <a:bodyPr/>
        <a:lstStyle/>
        <a:p>
          <a:endParaRPr lang="en-US"/>
        </a:p>
      </dgm:t>
    </dgm:pt>
    <dgm:pt modelId="{A7EAC468-2E3D-1042-ADEE-3E290F6F0620}">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Average per unit price:</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25.00</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1DCB4C9E-42BF-FB4C-81B6-AAFF8DDAD191}" type="parTrans" cxnId="{32D03DD7-38FA-C14B-9FD0-E614AF2CAFD4}">
      <dgm:prSet/>
      <dgm:spPr/>
      <dgm:t>
        <a:bodyPr/>
        <a:lstStyle/>
        <a:p>
          <a:endParaRPr lang="en-US"/>
        </a:p>
      </dgm:t>
    </dgm:pt>
    <dgm:pt modelId="{0BECE94C-79F0-F449-8633-711FCF4BFE62}" type="sibTrans" cxnId="{32D03DD7-38FA-C14B-9FD0-E614AF2CAFD4}">
      <dgm:prSet/>
      <dgm:spPr/>
      <dgm:t>
        <a:bodyPr/>
        <a:lstStyle/>
        <a:p>
          <a:endParaRPr lang="en-US"/>
        </a:p>
      </dgm:t>
    </dgm:pt>
    <dgm:pt modelId="{76DF730F-6FAD-2C42-84B0-06DCA06D35AB}">
      <dgm:prSet phldrT="[Text]"/>
      <dgm:spPr>
        <a:solidFill>
          <a:schemeClr val="accent5">
            <a:lumMod val="40000"/>
            <a:lumOff val="60000"/>
          </a:schemeClr>
        </a:solidFill>
      </dgm:spPr>
      <dgm:t>
        <a:bodyPr/>
        <a:lstStyle/>
        <a:p>
          <a:r>
            <a:rPr lang="en-US" b="1" dirty="0" smtClean="0">
              <a:solidFill>
                <a:schemeClr val="accent1">
                  <a:lumMod val="50000"/>
                </a:schemeClr>
              </a:solidFill>
              <a:effectLst>
                <a:outerShdw blurRad="50800" dist="38100" dir="2700000" algn="tl" rotWithShape="0">
                  <a:prstClr val="black">
                    <a:alpha val="40000"/>
                  </a:prstClr>
                </a:outerShdw>
              </a:effectLst>
            </a:rPr>
            <a:t>User retention</a:t>
          </a:r>
          <a:br>
            <a:rPr lang="en-US" b="1" dirty="0" smtClean="0">
              <a:solidFill>
                <a:schemeClr val="accent1">
                  <a:lumMod val="50000"/>
                </a:schemeClr>
              </a:solidFill>
              <a:effectLst>
                <a:outerShdw blurRad="50800" dist="38100" dir="2700000" algn="tl" rotWithShape="0">
                  <a:prstClr val="black">
                    <a:alpha val="40000"/>
                  </a:prstClr>
                </a:outerShdw>
              </a:effectLst>
            </a:rPr>
          </a:br>
          <a:r>
            <a:rPr lang="en-US" b="0" dirty="0" smtClean="0">
              <a:solidFill>
                <a:schemeClr val="accent1">
                  <a:lumMod val="50000"/>
                </a:schemeClr>
              </a:solidFill>
              <a:effectLst>
                <a:outerShdw blurRad="50800" dist="38100" dir="2700000" algn="tl" rotWithShape="0">
                  <a:prstClr val="black">
                    <a:alpha val="40000"/>
                  </a:prstClr>
                </a:outerShdw>
              </a:effectLst>
            </a:rPr>
            <a:t>33%</a:t>
          </a:r>
          <a:endParaRPr lang="en-US" b="0" dirty="0">
            <a:solidFill>
              <a:schemeClr val="accent1">
                <a:lumMod val="50000"/>
              </a:schemeClr>
            </a:solidFill>
            <a:effectLst>
              <a:outerShdw blurRad="50800" dist="38100" dir="2700000" algn="tl" rotWithShape="0">
                <a:prstClr val="black">
                  <a:alpha val="40000"/>
                </a:prstClr>
              </a:outerShdw>
            </a:effectLst>
          </a:endParaRPr>
        </a:p>
      </dgm:t>
    </dgm:pt>
    <dgm:pt modelId="{4AA2CFA8-FECD-C244-AE70-A104540C25B7}" type="parTrans" cxnId="{661595BE-6508-1047-9FFB-B87CEDB43E3E}">
      <dgm:prSet/>
      <dgm:spPr/>
      <dgm:t>
        <a:bodyPr/>
        <a:lstStyle/>
        <a:p>
          <a:endParaRPr lang="en-US"/>
        </a:p>
      </dgm:t>
    </dgm:pt>
    <dgm:pt modelId="{2FA1D702-26A1-6244-891B-F6D4BD0E4F28}" type="sibTrans" cxnId="{661595BE-6508-1047-9FFB-B87CEDB43E3E}">
      <dgm:prSet/>
      <dgm:spPr/>
      <dgm:t>
        <a:bodyPr/>
        <a:lstStyle/>
        <a:p>
          <a:endParaRPr lang="en-US"/>
        </a:p>
      </dgm:t>
    </dgm:pt>
    <dgm:pt modelId="{041119CE-361E-6D4A-9899-F5AB6B6B890A}" type="pres">
      <dgm:prSet presAssocID="{FD2DC9C9-CCF8-6D47-A8AF-7E8440F609A2}" presName="hierChild1" presStyleCnt="0">
        <dgm:presLayoutVars>
          <dgm:chPref val="1"/>
          <dgm:dir/>
          <dgm:animOne val="branch"/>
          <dgm:animLvl val="lvl"/>
          <dgm:resizeHandles/>
        </dgm:presLayoutVars>
      </dgm:prSet>
      <dgm:spPr/>
      <dgm:t>
        <a:bodyPr/>
        <a:lstStyle/>
        <a:p>
          <a:endParaRPr lang="en-US"/>
        </a:p>
      </dgm:t>
    </dgm:pt>
    <dgm:pt modelId="{229B772C-92EA-D74A-92D1-BA0B139CEBAE}" type="pres">
      <dgm:prSet presAssocID="{976E4913-3013-D542-B94C-5F195A6724B7}" presName="hierRoot1" presStyleCnt="0"/>
      <dgm:spPr/>
    </dgm:pt>
    <dgm:pt modelId="{25ED6921-D04F-CC4D-989A-E3019A2E2F4F}" type="pres">
      <dgm:prSet presAssocID="{976E4913-3013-D542-B94C-5F195A6724B7}" presName="composite" presStyleCnt="0"/>
      <dgm:spPr/>
    </dgm:pt>
    <dgm:pt modelId="{1B9369A3-05A5-9A4E-B39B-323DAD44EC7D}" type="pres">
      <dgm:prSet presAssocID="{976E4913-3013-D542-B94C-5F195A6724B7}" presName="background" presStyleLbl="node0" presStyleIdx="0" presStyleCnt="1"/>
      <dgm:spPr/>
    </dgm:pt>
    <dgm:pt modelId="{688CBFC9-CF51-6A4C-A892-4A80D3E91B9C}" type="pres">
      <dgm:prSet presAssocID="{976E4913-3013-D542-B94C-5F195A6724B7}" presName="text" presStyleLbl="fgAcc0" presStyleIdx="0" presStyleCnt="1">
        <dgm:presLayoutVars>
          <dgm:chPref val="3"/>
        </dgm:presLayoutVars>
      </dgm:prSet>
      <dgm:spPr/>
      <dgm:t>
        <a:bodyPr/>
        <a:lstStyle/>
        <a:p>
          <a:endParaRPr lang="en-US"/>
        </a:p>
      </dgm:t>
    </dgm:pt>
    <dgm:pt modelId="{D2D5D9E3-027D-F14B-B70D-86B03D852600}" type="pres">
      <dgm:prSet presAssocID="{976E4913-3013-D542-B94C-5F195A6724B7}" presName="hierChild2" presStyleCnt="0"/>
      <dgm:spPr/>
    </dgm:pt>
    <dgm:pt modelId="{F12BE241-1196-654B-9ADB-5C9E9D65C988}" type="pres">
      <dgm:prSet presAssocID="{2DF65173-E2F5-F64A-B40C-98384386255A}" presName="Name10" presStyleLbl="parChTrans1D2" presStyleIdx="0" presStyleCnt="2"/>
      <dgm:spPr/>
      <dgm:t>
        <a:bodyPr/>
        <a:lstStyle/>
        <a:p>
          <a:endParaRPr lang="en-US"/>
        </a:p>
      </dgm:t>
    </dgm:pt>
    <dgm:pt modelId="{559ABDB8-789F-0F45-A53B-94FF44072887}" type="pres">
      <dgm:prSet presAssocID="{2A39EBA1-2F93-5142-937C-314A1010ED30}" presName="hierRoot2" presStyleCnt="0"/>
      <dgm:spPr/>
    </dgm:pt>
    <dgm:pt modelId="{3BEA5185-E344-1344-B3A7-50647C9554DC}" type="pres">
      <dgm:prSet presAssocID="{2A39EBA1-2F93-5142-937C-314A1010ED30}" presName="composite2" presStyleCnt="0"/>
      <dgm:spPr/>
    </dgm:pt>
    <dgm:pt modelId="{7ECDC231-B0B4-1044-90EF-2671056D5251}" type="pres">
      <dgm:prSet presAssocID="{2A39EBA1-2F93-5142-937C-314A1010ED30}" presName="background2" presStyleLbl="node2" presStyleIdx="0" presStyleCnt="2"/>
      <dgm:spPr/>
    </dgm:pt>
    <dgm:pt modelId="{D4AF2446-8BB2-BC44-9E58-102FAC90164A}" type="pres">
      <dgm:prSet presAssocID="{2A39EBA1-2F93-5142-937C-314A1010ED30}" presName="text2" presStyleLbl="fgAcc2" presStyleIdx="0" presStyleCnt="2">
        <dgm:presLayoutVars>
          <dgm:chPref val="3"/>
        </dgm:presLayoutVars>
      </dgm:prSet>
      <dgm:spPr/>
      <dgm:t>
        <a:bodyPr/>
        <a:lstStyle/>
        <a:p>
          <a:endParaRPr lang="en-US"/>
        </a:p>
      </dgm:t>
    </dgm:pt>
    <dgm:pt modelId="{C796FA4C-8AC7-2A40-B76C-0B05F7B37028}" type="pres">
      <dgm:prSet presAssocID="{2A39EBA1-2F93-5142-937C-314A1010ED30}" presName="hierChild3" presStyleCnt="0"/>
      <dgm:spPr/>
    </dgm:pt>
    <dgm:pt modelId="{2B82377D-A4E1-994D-B2C3-C7E946B729C5}" type="pres">
      <dgm:prSet presAssocID="{5D82BF99-9764-454A-870A-B3235B2BB2CB}" presName="Name17" presStyleLbl="parChTrans1D3" presStyleIdx="0" presStyleCnt="4"/>
      <dgm:spPr/>
      <dgm:t>
        <a:bodyPr/>
        <a:lstStyle/>
        <a:p>
          <a:endParaRPr lang="en-US"/>
        </a:p>
      </dgm:t>
    </dgm:pt>
    <dgm:pt modelId="{EA518B5C-7256-2A4D-A1E4-4E7454366D20}" type="pres">
      <dgm:prSet presAssocID="{184ACB9C-DDC8-4345-B724-0DDDFC50ECAB}" presName="hierRoot3" presStyleCnt="0"/>
      <dgm:spPr/>
    </dgm:pt>
    <dgm:pt modelId="{675B1135-33CB-3E40-82A9-4E2F5BD8F97C}" type="pres">
      <dgm:prSet presAssocID="{184ACB9C-DDC8-4345-B724-0DDDFC50ECAB}" presName="composite3" presStyleCnt="0"/>
      <dgm:spPr/>
    </dgm:pt>
    <dgm:pt modelId="{A3249D03-CDCD-F743-9071-744E300E2489}" type="pres">
      <dgm:prSet presAssocID="{184ACB9C-DDC8-4345-B724-0DDDFC50ECAB}" presName="background3" presStyleLbl="node3" presStyleIdx="0" presStyleCnt="4"/>
      <dgm:spPr/>
    </dgm:pt>
    <dgm:pt modelId="{9A37EE48-0C7B-5543-95BA-2B866B6CFFC5}" type="pres">
      <dgm:prSet presAssocID="{184ACB9C-DDC8-4345-B724-0DDDFC50ECAB}" presName="text3" presStyleLbl="fgAcc3" presStyleIdx="0" presStyleCnt="4">
        <dgm:presLayoutVars>
          <dgm:chPref val="3"/>
        </dgm:presLayoutVars>
      </dgm:prSet>
      <dgm:spPr/>
      <dgm:t>
        <a:bodyPr/>
        <a:lstStyle/>
        <a:p>
          <a:endParaRPr lang="en-US"/>
        </a:p>
      </dgm:t>
    </dgm:pt>
    <dgm:pt modelId="{A12DC939-3AD1-7D4B-A5EA-D4706C2D42B6}" type="pres">
      <dgm:prSet presAssocID="{184ACB9C-DDC8-4345-B724-0DDDFC50ECAB}" presName="hierChild4" presStyleCnt="0"/>
      <dgm:spPr/>
    </dgm:pt>
    <dgm:pt modelId="{91DB0BAF-F501-9549-878A-8E209792FD32}" type="pres">
      <dgm:prSet presAssocID="{30C25A4A-E4DC-3941-B63A-4538CE0511E0}" presName="Name23" presStyleLbl="parChTrans1D4" presStyleIdx="0" presStyleCnt="4"/>
      <dgm:spPr/>
      <dgm:t>
        <a:bodyPr/>
        <a:lstStyle/>
        <a:p>
          <a:endParaRPr lang="en-US"/>
        </a:p>
      </dgm:t>
    </dgm:pt>
    <dgm:pt modelId="{454535BC-1531-954A-821C-B815814A3DC3}" type="pres">
      <dgm:prSet presAssocID="{03CF68B1-6741-C14E-A767-3EEC640D027A}" presName="hierRoot4" presStyleCnt="0"/>
      <dgm:spPr/>
    </dgm:pt>
    <dgm:pt modelId="{4C8A08BC-8DA8-914A-9164-14F6E812D252}" type="pres">
      <dgm:prSet presAssocID="{03CF68B1-6741-C14E-A767-3EEC640D027A}" presName="composite4" presStyleCnt="0"/>
      <dgm:spPr/>
    </dgm:pt>
    <dgm:pt modelId="{013E3F4F-50CC-2B4B-AEC0-1BEA47E18A54}" type="pres">
      <dgm:prSet presAssocID="{03CF68B1-6741-C14E-A767-3EEC640D027A}" presName="background4" presStyleLbl="node4" presStyleIdx="0" presStyleCnt="4"/>
      <dgm:spPr/>
    </dgm:pt>
    <dgm:pt modelId="{5686E0BE-C1C5-EC45-8CAA-7F9452D02E34}" type="pres">
      <dgm:prSet presAssocID="{03CF68B1-6741-C14E-A767-3EEC640D027A}" presName="text4" presStyleLbl="fgAcc4" presStyleIdx="0" presStyleCnt="4">
        <dgm:presLayoutVars>
          <dgm:chPref val="3"/>
        </dgm:presLayoutVars>
      </dgm:prSet>
      <dgm:spPr/>
      <dgm:t>
        <a:bodyPr/>
        <a:lstStyle/>
        <a:p>
          <a:endParaRPr lang="en-US"/>
        </a:p>
      </dgm:t>
    </dgm:pt>
    <dgm:pt modelId="{EC74264F-BAA9-F847-B39A-78D5F65BA350}" type="pres">
      <dgm:prSet presAssocID="{03CF68B1-6741-C14E-A767-3EEC640D027A}" presName="hierChild5" presStyleCnt="0"/>
      <dgm:spPr/>
    </dgm:pt>
    <dgm:pt modelId="{251B4CA8-FD13-D240-A91B-57DBF1DB0415}" type="pres">
      <dgm:prSet presAssocID="{1DCB4C9E-42BF-FB4C-81B6-AAFF8DDAD191}" presName="Name23" presStyleLbl="parChTrans1D4" presStyleIdx="1" presStyleCnt="4"/>
      <dgm:spPr/>
      <dgm:t>
        <a:bodyPr/>
        <a:lstStyle/>
        <a:p>
          <a:endParaRPr lang="en-US"/>
        </a:p>
      </dgm:t>
    </dgm:pt>
    <dgm:pt modelId="{B00B7C9D-05CC-A041-91EE-98E46BEA50E2}" type="pres">
      <dgm:prSet presAssocID="{A7EAC468-2E3D-1042-ADEE-3E290F6F0620}" presName="hierRoot4" presStyleCnt="0"/>
      <dgm:spPr/>
    </dgm:pt>
    <dgm:pt modelId="{57621D9C-612E-E345-806C-D4049E68DB51}" type="pres">
      <dgm:prSet presAssocID="{A7EAC468-2E3D-1042-ADEE-3E290F6F0620}" presName="composite4" presStyleCnt="0"/>
      <dgm:spPr/>
    </dgm:pt>
    <dgm:pt modelId="{F03A88C2-D2CD-2748-B889-C91C65E6E2BB}" type="pres">
      <dgm:prSet presAssocID="{A7EAC468-2E3D-1042-ADEE-3E290F6F0620}" presName="background4" presStyleLbl="node4" presStyleIdx="1" presStyleCnt="4"/>
      <dgm:spPr/>
    </dgm:pt>
    <dgm:pt modelId="{3E6EA152-4905-344C-9D27-1F4340B46C4C}" type="pres">
      <dgm:prSet presAssocID="{A7EAC468-2E3D-1042-ADEE-3E290F6F0620}" presName="text4" presStyleLbl="fgAcc4" presStyleIdx="1" presStyleCnt="4">
        <dgm:presLayoutVars>
          <dgm:chPref val="3"/>
        </dgm:presLayoutVars>
      </dgm:prSet>
      <dgm:spPr/>
      <dgm:t>
        <a:bodyPr/>
        <a:lstStyle/>
        <a:p>
          <a:endParaRPr lang="en-US"/>
        </a:p>
      </dgm:t>
    </dgm:pt>
    <dgm:pt modelId="{250B1162-CE92-F94B-AC3E-A8B9CEDAFD6E}" type="pres">
      <dgm:prSet presAssocID="{A7EAC468-2E3D-1042-ADEE-3E290F6F0620}" presName="hierChild5" presStyleCnt="0"/>
      <dgm:spPr/>
    </dgm:pt>
    <dgm:pt modelId="{787BAEBB-C6A5-4846-B73F-5052A7752B7A}" type="pres">
      <dgm:prSet presAssocID="{97F00291-484C-9643-BB48-501572165824}" presName="Name17" presStyleLbl="parChTrans1D3" presStyleIdx="1" presStyleCnt="4"/>
      <dgm:spPr/>
      <dgm:t>
        <a:bodyPr/>
        <a:lstStyle/>
        <a:p>
          <a:endParaRPr lang="en-US"/>
        </a:p>
      </dgm:t>
    </dgm:pt>
    <dgm:pt modelId="{F33FD33C-98D7-3542-A4BF-0A4DD79261AD}" type="pres">
      <dgm:prSet presAssocID="{3949C127-D417-5447-960D-9A31732C76A6}" presName="hierRoot3" presStyleCnt="0"/>
      <dgm:spPr/>
    </dgm:pt>
    <dgm:pt modelId="{385D75BC-ED43-0641-86E1-17B5BAD20B2F}" type="pres">
      <dgm:prSet presAssocID="{3949C127-D417-5447-960D-9A31732C76A6}" presName="composite3" presStyleCnt="0"/>
      <dgm:spPr/>
    </dgm:pt>
    <dgm:pt modelId="{566569CA-60A1-4C4F-AFF2-CDDC04B70585}" type="pres">
      <dgm:prSet presAssocID="{3949C127-D417-5447-960D-9A31732C76A6}" presName="background3" presStyleLbl="node3" presStyleIdx="1" presStyleCnt="4"/>
      <dgm:spPr/>
    </dgm:pt>
    <dgm:pt modelId="{FB2451F5-A243-E544-B2E0-CD798B574787}" type="pres">
      <dgm:prSet presAssocID="{3949C127-D417-5447-960D-9A31732C76A6}" presName="text3" presStyleLbl="fgAcc3" presStyleIdx="1" presStyleCnt="4">
        <dgm:presLayoutVars>
          <dgm:chPref val="3"/>
        </dgm:presLayoutVars>
      </dgm:prSet>
      <dgm:spPr/>
      <dgm:t>
        <a:bodyPr/>
        <a:lstStyle/>
        <a:p>
          <a:endParaRPr lang="en-US"/>
        </a:p>
      </dgm:t>
    </dgm:pt>
    <dgm:pt modelId="{75D3574E-5C89-4646-882E-07AB6BEC17D5}" type="pres">
      <dgm:prSet presAssocID="{3949C127-D417-5447-960D-9A31732C76A6}" presName="hierChild4" presStyleCnt="0"/>
      <dgm:spPr/>
    </dgm:pt>
    <dgm:pt modelId="{C0E88B73-3140-9B45-ADBE-E381220B76C4}" type="pres">
      <dgm:prSet presAssocID="{4B0DD293-0C83-8647-AD12-E85C913CFE01}" presName="Name23" presStyleLbl="parChTrans1D4" presStyleIdx="2" presStyleCnt="4"/>
      <dgm:spPr/>
      <dgm:t>
        <a:bodyPr/>
        <a:lstStyle/>
        <a:p>
          <a:endParaRPr lang="en-US"/>
        </a:p>
      </dgm:t>
    </dgm:pt>
    <dgm:pt modelId="{65AFCF96-BEAB-2146-9616-04B6CCF46EE4}" type="pres">
      <dgm:prSet presAssocID="{02450672-1453-674F-9568-6D7583B183BB}" presName="hierRoot4" presStyleCnt="0"/>
      <dgm:spPr/>
    </dgm:pt>
    <dgm:pt modelId="{428A51A6-FBD7-5447-9F90-16D5C4AEDCD5}" type="pres">
      <dgm:prSet presAssocID="{02450672-1453-674F-9568-6D7583B183BB}" presName="composite4" presStyleCnt="0"/>
      <dgm:spPr/>
    </dgm:pt>
    <dgm:pt modelId="{D1D63DA7-35DA-2140-8AB4-BBBFE1A99F8C}" type="pres">
      <dgm:prSet presAssocID="{02450672-1453-674F-9568-6D7583B183BB}" presName="background4" presStyleLbl="node4" presStyleIdx="2" presStyleCnt="4"/>
      <dgm:spPr/>
    </dgm:pt>
    <dgm:pt modelId="{ADD942DA-F9AE-A54E-8F58-9123C760AA04}" type="pres">
      <dgm:prSet presAssocID="{02450672-1453-674F-9568-6D7583B183BB}" presName="text4" presStyleLbl="fgAcc4" presStyleIdx="2" presStyleCnt="4">
        <dgm:presLayoutVars>
          <dgm:chPref val="3"/>
        </dgm:presLayoutVars>
      </dgm:prSet>
      <dgm:spPr/>
      <dgm:t>
        <a:bodyPr/>
        <a:lstStyle/>
        <a:p>
          <a:endParaRPr lang="en-US"/>
        </a:p>
      </dgm:t>
    </dgm:pt>
    <dgm:pt modelId="{3BA4C0C6-707A-CE44-B709-9A78331EA730}" type="pres">
      <dgm:prSet presAssocID="{02450672-1453-674F-9568-6D7583B183BB}" presName="hierChild5" presStyleCnt="0"/>
      <dgm:spPr/>
    </dgm:pt>
    <dgm:pt modelId="{4BDD72AF-9300-FE41-87F4-27880B7B7760}" type="pres">
      <dgm:prSet presAssocID="{A2AF27BC-FA34-6E4F-8DB7-4D55D30B4731}" presName="Name23" presStyleLbl="parChTrans1D4" presStyleIdx="3" presStyleCnt="4"/>
      <dgm:spPr/>
      <dgm:t>
        <a:bodyPr/>
        <a:lstStyle/>
        <a:p>
          <a:endParaRPr lang="en-US"/>
        </a:p>
      </dgm:t>
    </dgm:pt>
    <dgm:pt modelId="{72F4D759-43D3-C442-A09F-B4C61A31E41E}" type="pres">
      <dgm:prSet presAssocID="{90DECB6B-6422-BE49-B301-A3E12E66236F}" presName="hierRoot4" presStyleCnt="0"/>
      <dgm:spPr/>
    </dgm:pt>
    <dgm:pt modelId="{C2F8B43B-B426-904A-801B-33FB61348AE2}" type="pres">
      <dgm:prSet presAssocID="{90DECB6B-6422-BE49-B301-A3E12E66236F}" presName="composite4" presStyleCnt="0"/>
      <dgm:spPr/>
    </dgm:pt>
    <dgm:pt modelId="{B406D17C-37E4-654E-844A-37B1D1EE2181}" type="pres">
      <dgm:prSet presAssocID="{90DECB6B-6422-BE49-B301-A3E12E66236F}" presName="background4" presStyleLbl="node4" presStyleIdx="3" presStyleCnt="4"/>
      <dgm:spPr/>
    </dgm:pt>
    <dgm:pt modelId="{1CC27B90-AC9A-2A4F-BC62-34743178EAEA}" type="pres">
      <dgm:prSet presAssocID="{90DECB6B-6422-BE49-B301-A3E12E66236F}" presName="text4" presStyleLbl="fgAcc4" presStyleIdx="3" presStyleCnt="4">
        <dgm:presLayoutVars>
          <dgm:chPref val="3"/>
        </dgm:presLayoutVars>
      </dgm:prSet>
      <dgm:spPr/>
      <dgm:t>
        <a:bodyPr/>
        <a:lstStyle/>
        <a:p>
          <a:endParaRPr lang="en-US"/>
        </a:p>
      </dgm:t>
    </dgm:pt>
    <dgm:pt modelId="{9B1C7C5B-B527-5842-8392-11C0F3954104}" type="pres">
      <dgm:prSet presAssocID="{90DECB6B-6422-BE49-B301-A3E12E66236F}" presName="hierChild5" presStyleCnt="0"/>
      <dgm:spPr/>
    </dgm:pt>
    <dgm:pt modelId="{3C56EFE0-A99A-1A4E-8820-C664E6B497CB}" type="pres">
      <dgm:prSet presAssocID="{9381EFED-55ED-EB40-BFBF-E3D20E39599B}" presName="Name10" presStyleLbl="parChTrans1D2" presStyleIdx="1" presStyleCnt="2"/>
      <dgm:spPr/>
      <dgm:t>
        <a:bodyPr/>
        <a:lstStyle/>
        <a:p>
          <a:endParaRPr lang="en-US"/>
        </a:p>
      </dgm:t>
    </dgm:pt>
    <dgm:pt modelId="{6E66499E-611A-7447-9B15-820BC0E81A08}" type="pres">
      <dgm:prSet presAssocID="{44407743-FA8C-3841-943E-4FC86D85CCD9}" presName="hierRoot2" presStyleCnt="0"/>
      <dgm:spPr/>
    </dgm:pt>
    <dgm:pt modelId="{6750678C-050F-1C4F-A92D-84DE20681905}" type="pres">
      <dgm:prSet presAssocID="{44407743-FA8C-3841-943E-4FC86D85CCD9}" presName="composite2" presStyleCnt="0"/>
      <dgm:spPr/>
    </dgm:pt>
    <dgm:pt modelId="{8AF0E105-A16A-614F-9F50-33C446FC97DD}" type="pres">
      <dgm:prSet presAssocID="{44407743-FA8C-3841-943E-4FC86D85CCD9}" presName="background2" presStyleLbl="node2" presStyleIdx="1" presStyleCnt="2"/>
      <dgm:spPr/>
    </dgm:pt>
    <dgm:pt modelId="{21234BA2-BC97-994E-8051-7A5DB50E6C0B}" type="pres">
      <dgm:prSet presAssocID="{44407743-FA8C-3841-943E-4FC86D85CCD9}" presName="text2" presStyleLbl="fgAcc2" presStyleIdx="1" presStyleCnt="2">
        <dgm:presLayoutVars>
          <dgm:chPref val="3"/>
        </dgm:presLayoutVars>
      </dgm:prSet>
      <dgm:spPr/>
      <dgm:t>
        <a:bodyPr/>
        <a:lstStyle/>
        <a:p>
          <a:endParaRPr lang="en-US"/>
        </a:p>
      </dgm:t>
    </dgm:pt>
    <dgm:pt modelId="{3A956C71-E8B4-8B4A-93F0-EA2F0DE7CCA0}" type="pres">
      <dgm:prSet presAssocID="{44407743-FA8C-3841-943E-4FC86D85CCD9}" presName="hierChild3" presStyleCnt="0"/>
      <dgm:spPr/>
    </dgm:pt>
    <dgm:pt modelId="{7896787E-B596-3D47-AF70-7BF1181711DA}" type="pres">
      <dgm:prSet presAssocID="{1732B170-B9E5-8745-A394-50C5CD9598D2}" presName="Name17" presStyleLbl="parChTrans1D3" presStyleIdx="2" presStyleCnt="4"/>
      <dgm:spPr/>
      <dgm:t>
        <a:bodyPr/>
        <a:lstStyle/>
        <a:p>
          <a:endParaRPr lang="en-US"/>
        </a:p>
      </dgm:t>
    </dgm:pt>
    <dgm:pt modelId="{6E61B842-0A2C-EE4F-B07C-A4ECEB8F964B}" type="pres">
      <dgm:prSet presAssocID="{6199E3C3-062C-F241-B17E-C01235C54BF5}" presName="hierRoot3" presStyleCnt="0"/>
      <dgm:spPr/>
    </dgm:pt>
    <dgm:pt modelId="{FD5E0805-28B0-F14E-8FC8-ECA7EAEC278F}" type="pres">
      <dgm:prSet presAssocID="{6199E3C3-062C-F241-B17E-C01235C54BF5}" presName="composite3" presStyleCnt="0"/>
      <dgm:spPr/>
    </dgm:pt>
    <dgm:pt modelId="{F00C627A-CA09-774E-B3EA-B343D1757425}" type="pres">
      <dgm:prSet presAssocID="{6199E3C3-062C-F241-B17E-C01235C54BF5}" presName="background3" presStyleLbl="node3" presStyleIdx="2" presStyleCnt="4"/>
      <dgm:spPr/>
    </dgm:pt>
    <dgm:pt modelId="{87D53768-DAC1-DD48-9C31-590E8B87F5E8}" type="pres">
      <dgm:prSet presAssocID="{6199E3C3-062C-F241-B17E-C01235C54BF5}" presName="text3" presStyleLbl="fgAcc3" presStyleIdx="2" presStyleCnt="4">
        <dgm:presLayoutVars>
          <dgm:chPref val="3"/>
        </dgm:presLayoutVars>
      </dgm:prSet>
      <dgm:spPr/>
      <dgm:t>
        <a:bodyPr/>
        <a:lstStyle/>
        <a:p>
          <a:endParaRPr lang="en-US"/>
        </a:p>
      </dgm:t>
    </dgm:pt>
    <dgm:pt modelId="{E1BCCF2F-6156-1041-9ACF-B00FBB6814F0}" type="pres">
      <dgm:prSet presAssocID="{6199E3C3-062C-F241-B17E-C01235C54BF5}" presName="hierChild4" presStyleCnt="0"/>
      <dgm:spPr/>
    </dgm:pt>
    <dgm:pt modelId="{2BA02BDE-F9F8-534B-AFBE-F69D41738C15}" type="pres">
      <dgm:prSet presAssocID="{4AA2CFA8-FECD-C244-AE70-A104540C25B7}" presName="Name17" presStyleLbl="parChTrans1D3" presStyleIdx="3" presStyleCnt="4"/>
      <dgm:spPr/>
      <dgm:t>
        <a:bodyPr/>
        <a:lstStyle/>
        <a:p>
          <a:endParaRPr lang="en-US"/>
        </a:p>
      </dgm:t>
    </dgm:pt>
    <dgm:pt modelId="{3CEC845E-8AA7-044C-A770-6D14EC9BBB9A}" type="pres">
      <dgm:prSet presAssocID="{76DF730F-6FAD-2C42-84B0-06DCA06D35AB}" presName="hierRoot3" presStyleCnt="0"/>
      <dgm:spPr/>
    </dgm:pt>
    <dgm:pt modelId="{9A4A965F-8CC5-A04E-AD23-3B8C3C217C85}" type="pres">
      <dgm:prSet presAssocID="{76DF730F-6FAD-2C42-84B0-06DCA06D35AB}" presName="composite3" presStyleCnt="0"/>
      <dgm:spPr/>
    </dgm:pt>
    <dgm:pt modelId="{EA772503-3539-5E48-A49C-0DC39BAFCA0C}" type="pres">
      <dgm:prSet presAssocID="{76DF730F-6FAD-2C42-84B0-06DCA06D35AB}" presName="background3" presStyleLbl="node3" presStyleIdx="3" presStyleCnt="4"/>
      <dgm:spPr/>
    </dgm:pt>
    <dgm:pt modelId="{E08874E8-AAE7-6743-B9EF-1E82EF8809A9}" type="pres">
      <dgm:prSet presAssocID="{76DF730F-6FAD-2C42-84B0-06DCA06D35AB}" presName="text3" presStyleLbl="fgAcc3" presStyleIdx="3" presStyleCnt="4">
        <dgm:presLayoutVars>
          <dgm:chPref val="3"/>
        </dgm:presLayoutVars>
      </dgm:prSet>
      <dgm:spPr/>
      <dgm:t>
        <a:bodyPr/>
        <a:lstStyle/>
        <a:p>
          <a:endParaRPr lang="en-US"/>
        </a:p>
      </dgm:t>
    </dgm:pt>
    <dgm:pt modelId="{755B5F42-C6C9-0143-B732-2B364080C6B6}" type="pres">
      <dgm:prSet presAssocID="{76DF730F-6FAD-2C42-84B0-06DCA06D35AB}" presName="hierChild4" presStyleCnt="0"/>
      <dgm:spPr/>
    </dgm:pt>
  </dgm:ptLst>
  <dgm:cxnLst>
    <dgm:cxn modelId="{F0A8B6DA-4654-D74F-9494-8852D25778A6}" type="presOf" srcId="{976E4913-3013-D542-B94C-5F195A6724B7}" destId="{688CBFC9-CF51-6A4C-A892-4A80D3E91B9C}" srcOrd="0" destOrd="0" presId="urn:microsoft.com/office/officeart/2005/8/layout/hierarchy1"/>
    <dgm:cxn modelId="{661595BE-6508-1047-9FFB-B87CEDB43E3E}" srcId="{44407743-FA8C-3841-943E-4FC86D85CCD9}" destId="{76DF730F-6FAD-2C42-84B0-06DCA06D35AB}" srcOrd="1" destOrd="0" parTransId="{4AA2CFA8-FECD-C244-AE70-A104540C25B7}" sibTransId="{2FA1D702-26A1-6244-891B-F6D4BD0E4F28}"/>
    <dgm:cxn modelId="{1457CAEE-F7FA-7543-B39D-3406CFC477D1}" type="presOf" srcId="{184ACB9C-DDC8-4345-B724-0DDDFC50ECAB}" destId="{9A37EE48-0C7B-5543-95BA-2B866B6CFFC5}" srcOrd="0" destOrd="0" presId="urn:microsoft.com/office/officeart/2005/8/layout/hierarchy1"/>
    <dgm:cxn modelId="{14322F85-A2F5-E84D-A1EF-B4C262155297}" srcId="{976E4913-3013-D542-B94C-5F195A6724B7}" destId="{44407743-FA8C-3841-943E-4FC86D85CCD9}" srcOrd="1" destOrd="0" parTransId="{9381EFED-55ED-EB40-BFBF-E3D20E39599B}" sibTransId="{7A81C806-E05F-A74A-998E-B0EB6B022A63}"/>
    <dgm:cxn modelId="{D555F826-D834-7E4F-83BD-A28940C2B6A1}" type="presOf" srcId="{76DF730F-6FAD-2C42-84B0-06DCA06D35AB}" destId="{E08874E8-AAE7-6743-B9EF-1E82EF8809A9}" srcOrd="0" destOrd="0" presId="urn:microsoft.com/office/officeart/2005/8/layout/hierarchy1"/>
    <dgm:cxn modelId="{9E30992E-0A2B-3A4F-B77B-9D25E6BABF8C}" type="presOf" srcId="{97F00291-484C-9643-BB48-501572165824}" destId="{787BAEBB-C6A5-4846-B73F-5052A7752B7A}" srcOrd="0" destOrd="0" presId="urn:microsoft.com/office/officeart/2005/8/layout/hierarchy1"/>
    <dgm:cxn modelId="{369C82ED-0660-1048-93E2-E87D0983B5B0}" type="presOf" srcId="{9381EFED-55ED-EB40-BFBF-E3D20E39599B}" destId="{3C56EFE0-A99A-1A4E-8820-C664E6B497CB}" srcOrd="0" destOrd="0" presId="urn:microsoft.com/office/officeart/2005/8/layout/hierarchy1"/>
    <dgm:cxn modelId="{32D03DD7-38FA-C14B-9FD0-E614AF2CAFD4}" srcId="{184ACB9C-DDC8-4345-B724-0DDDFC50ECAB}" destId="{A7EAC468-2E3D-1042-ADEE-3E290F6F0620}" srcOrd="1" destOrd="0" parTransId="{1DCB4C9E-42BF-FB4C-81B6-AAFF8DDAD191}" sibTransId="{0BECE94C-79F0-F449-8633-711FCF4BFE62}"/>
    <dgm:cxn modelId="{B6F39787-1FF4-1E4F-8D94-43FACCBFFFCF}" type="presOf" srcId="{FD2DC9C9-CCF8-6D47-A8AF-7E8440F609A2}" destId="{041119CE-361E-6D4A-9899-F5AB6B6B890A}" srcOrd="0" destOrd="0" presId="urn:microsoft.com/office/officeart/2005/8/layout/hierarchy1"/>
    <dgm:cxn modelId="{AE41E93C-8516-5342-A4E3-DFA0200A343B}" srcId="{FD2DC9C9-CCF8-6D47-A8AF-7E8440F609A2}" destId="{976E4913-3013-D542-B94C-5F195A6724B7}" srcOrd="0" destOrd="0" parTransId="{84BCC4DA-0C9B-9840-AE25-C39D2CEBB720}" sibTransId="{1EA03C99-4980-B54B-B863-97E3E8430D8C}"/>
    <dgm:cxn modelId="{E1F02544-BDB4-CF43-9039-9AF0BC78A94A}" type="presOf" srcId="{90DECB6B-6422-BE49-B301-A3E12E66236F}" destId="{1CC27B90-AC9A-2A4F-BC62-34743178EAEA}" srcOrd="0" destOrd="0" presId="urn:microsoft.com/office/officeart/2005/8/layout/hierarchy1"/>
    <dgm:cxn modelId="{29D7EFC8-07C3-B247-ABB3-8DA25DA2CE21}" type="presOf" srcId="{A2AF27BC-FA34-6E4F-8DB7-4D55D30B4731}" destId="{4BDD72AF-9300-FE41-87F4-27880B7B7760}" srcOrd="0" destOrd="0" presId="urn:microsoft.com/office/officeart/2005/8/layout/hierarchy1"/>
    <dgm:cxn modelId="{B807CD84-65C2-6D48-B742-4D6C6154D9E3}" srcId="{976E4913-3013-D542-B94C-5F195A6724B7}" destId="{2A39EBA1-2F93-5142-937C-314A1010ED30}" srcOrd="0" destOrd="0" parTransId="{2DF65173-E2F5-F64A-B40C-98384386255A}" sibTransId="{1EF18E59-6D25-3443-A842-04859CF4EFDE}"/>
    <dgm:cxn modelId="{77B452E5-025C-3B4C-8206-CD09B76AED39}" type="presOf" srcId="{1732B170-B9E5-8745-A394-50C5CD9598D2}" destId="{7896787E-B596-3D47-AF70-7BF1181711DA}" srcOrd="0" destOrd="0" presId="urn:microsoft.com/office/officeart/2005/8/layout/hierarchy1"/>
    <dgm:cxn modelId="{C503CBBC-033C-F142-A2F1-EBBD1CF52292}" type="presOf" srcId="{2DF65173-E2F5-F64A-B40C-98384386255A}" destId="{F12BE241-1196-654B-9ADB-5C9E9D65C988}" srcOrd="0" destOrd="0" presId="urn:microsoft.com/office/officeart/2005/8/layout/hierarchy1"/>
    <dgm:cxn modelId="{A588CB04-9565-8E41-82A3-9CE8DACA8765}" type="presOf" srcId="{4AA2CFA8-FECD-C244-AE70-A104540C25B7}" destId="{2BA02BDE-F9F8-534B-AFBE-F69D41738C15}" srcOrd="0" destOrd="0" presId="urn:microsoft.com/office/officeart/2005/8/layout/hierarchy1"/>
    <dgm:cxn modelId="{5A589717-ECE6-0644-8377-615482939D2A}" srcId="{184ACB9C-DDC8-4345-B724-0DDDFC50ECAB}" destId="{03CF68B1-6741-C14E-A767-3EEC640D027A}" srcOrd="0" destOrd="0" parTransId="{30C25A4A-E4DC-3941-B63A-4538CE0511E0}" sibTransId="{8024D8B6-01B5-454C-9678-8CF31DA62376}"/>
    <dgm:cxn modelId="{2E029292-59A2-7046-8AE6-6056F8FD972F}" type="presOf" srcId="{1DCB4C9E-42BF-FB4C-81B6-AAFF8DDAD191}" destId="{251B4CA8-FD13-D240-A91B-57DBF1DB0415}" srcOrd="0" destOrd="0" presId="urn:microsoft.com/office/officeart/2005/8/layout/hierarchy1"/>
    <dgm:cxn modelId="{82D74333-4825-1745-BDD0-A076FE1A0E15}" type="presOf" srcId="{02450672-1453-674F-9568-6D7583B183BB}" destId="{ADD942DA-F9AE-A54E-8F58-9123C760AA04}" srcOrd="0" destOrd="0" presId="urn:microsoft.com/office/officeart/2005/8/layout/hierarchy1"/>
    <dgm:cxn modelId="{CB4D4C3E-E8AA-3440-9722-AA4E24683411}" type="presOf" srcId="{03CF68B1-6741-C14E-A767-3EEC640D027A}" destId="{5686E0BE-C1C5-EC45-8CAA-7F9452D02E34}" srcOrd="0" destOrd="0" presId="urn:microsoft.com/office/officeart/2005/8/layout/hierarchy1"/>
    <dgm:cxn modelId="{1AEFA2F8-1604-DC46-9FF2-61B9ED18EA1A}" type="presOf" srcId="{30C25A4A-E4DC-3941-B63A-4538CE0511E0}" destId="{91DB0BAF-F501-9549-878A-8E209792FD32}" srcOrd="0" destOrd="0" presId="urn:microsoft.com/office/officeart/2005/8/layout/hierarchy1"/>
    <dgm:cxn modelId="{0585C621-BA38-2449-8E8B-796FB46E0182}" srcId="{2A39EBA1-2F93-5142-937C-314A1010ED30}" destId="{184ACB9C-DDC8-4345-B724-0DDDFC50ECAB}" srcOrd="0" destOrd="0" parTransId="{5D82BF99-9764-454A-870A-B3235B2BB2CB}" sibTransId="{BDCBA3D6-C501-0A47-88CA-72E8E5C02827}"/>
    <dgm:cxn modelId="{DDD00635-51F9-E24C-9EE4-C1B3D409B6AE}" type="presOf" srcId="{5D82BF99-9764-454A-870A-B3235B2BB2CB}" destId="{2B82377D-A4E1-994D-B2C3-C7E946B729C5}" srcOrd="0" destOrd="0" presId="urn:microsoft.com/office/officeart/2005/8/layout/hierarchy1"/>
    <dgm:cxn modelId="{86040578-F333-9840-9B65-1F28B3ECD03C}" srcId="{3949C127-D417-5447-960D-9A31732C76A6}" destId="{02450672-1453-674F-9568-6D7583B183BB}" srcOrd="0" destOrd="0" parTransId="{4B0DD293-0C83-8647-AD12-E85C913CFE01}" sibTransId="{952FA72D-BF7D-D649-9097-85E160A252FA}"/>
    <dgm:cxn modelId="{B3ED3C88-7F00-EA40-8092-46FD6B97C7FB}" type="presOf" srcId="{3949C127-D417-5447-960D-9A31732C76A6}" destId="{FB2451F5-A243-E544-B2E0-CD798B574787}" srcOrd="0" destOrd="0" presId="urn:microsoft.com/office/officeart/2005/8/layout/hierarchy1"/>
    <dgm:cxn modelId="{E6A5FFCA-E979-3E4C-8E55-A55652A590AB}" type="presOf" srcId="{6199E3C3-062C-F241-B17E-C01235C54BF5}" destId="{87D53768-DAC1-DD48-9C31-590E8B87F5E8}" srcOrd="0" destOrd="0" presId="urn:microsoft.com/office/officeart/2005/8/layout/hierarchy1"/>
    <dgm:cxn modelId="{CACD0C6F-1EB0-5941-B773-3AF4751C3D75}" type="presOf" srcId="{A7EAC468-2E3D-1042-ADEE-3E290F6F0620}" destId="{3E6EA152-4905-344C-9D27-1F4340B46C4C}" srcOrd="0" destOrd="0" presId="urn:microsoft.com/office/officeart/2005/8/layout/hierarchy1"/>
    <dgm:cxn modelId="{BEFF8E41-1FA3-754D-BB1A-BB8ADA37B9BC}" srcId="{44407743-FA8C-3841-943E-4FC86D85CCD9}" destId="{6199E3C3-062C-F241-B17E-C01235C54BF5}" srcOrd="0" destOrd="0" parTransId="{1732B170-B9E5-8745-A394-50C5CD9598D2}" sibTransId="{E0A7A375-BF54-964C-86BB-66D1D89B52FD}"/>
    <dgm:cxn modelId="{DE75F3E8-CF36-5F42-BADB-7078A29D0587}" type="presOf" srcId="{44407743-FA8C-3841-943E-4FC86D85CCD9}" destId="{21234BA2-BC97-994E-8051-7A5DB50E6C0B}" srcOrd="0" destOrd="0" presId="urn:microsoft.com/office/officeart/2005/8/layout/hierarchy1"/>
    <dgm:cxn modelId="{A7D4D30F-F04E-424A-BC8D-10BB50EDAAC3}" type="presOf" srcId="{2A39EBA1-2F93-5142-937C-314A1010ED30}" destId="{D4AF2446-8BB2-BC44-9E58-102FAC90164A}" srcOrd="0" destOrd="0" presId="urn:microsoft.com/office/officeart/2005/8/layout/hierarchy1"/>
    <dgm:cxn modelId="{024E7B52-F85E-7D45-BE35-19A81F8265A9}" srcId="{3949C127-D417-5447-960D-9A31732C76A6}" destId="{90DECB6B-6422-BE49-B301-A3E12E66236F}" srcOrd="1" destOrd="0" parTransId="{A2AF27BC-FA34-6E4F-8DB7-4D55D30B4731}" sibTransId="{0ACE4F66-ABF0-3C43-833C-FF3059225E1E}"/>
    <dgm:cxn modelId="{3E44F089-2635-AF49-B541-787582491816}" srcId="{2A39EBA1-2F93-5142-937C-314A1010ED30}" destId="{3949C127-D417-5447-960D-9A31732C76A6}" srcOrd="1" destOrd="0" parTransId="{97F00291-484C-9643-BB48-501572165824}" sibTransId="{6B0EF262-C553-C64C-A1AF-8F442A059D90}"/>
    <dgm:cxn modelId="{076FC7CC-B31B-F746-A3C7-E52F06BB8B9C}" type="presOf" srcId="{4B0DD293-0C83-8647-AD12-E85C913CFE01}" destId="{C0E88B73-3140-9B45-ADBE-E381220B76C4}" srcOrd="0" destOrd="0" presId="urn:microsoft.com/office/officeart/2005/8/layout/hierarchy1"/>
    <dgm:cxn modelId="{87219544-C908-264A-9A1B-2C502A139BDF}" type="presParOf" srcId="{041119CE-361E-6D4A-9899-F5AB6B6B890A}" destId="{229B772C-92EA-D74A-92D1-BA0B139CEBAE}" srcOrd="0" destOrd="0" presId="urn:microsoft.com/office/officeart/2005/8/layout/hierarchy1"/>
    <dgm:cxn modelId="{426491BC-2A46-FA46-9321-3DE9AC10AB0A}" type="presParOf" srcId="{229B772C-92EA-D74A-92D1-BA0B139CEBAE}" destId="{25ED6921-D04F-CC4D-989A-E3019A2E2F4F}" srcOrd="0" destOrd="0" presId="urn:microsoft.com/office/officeart/2005/8/layout/hierarchy1"/>
    <dgm:cxn modelId="{FF5501CB-2D01-8644-8C57-D473ADEEC27E}" type="presParOf" srcId="{25ED6921-D04F-CC4D-989A-E3019A2E2F4F}" destId="{1B9369A3-05A5-9A4E-B39B-323DAD44EC7D}" srcOrd="0" destOrd="0" presId="urn:microsoft.com/office/officeart/2005/8/layout/hierarchy1"/>
    <dgm:cxn modelId="{9C16F696-D032-A040-B4A8-400A14B571C1}" type="presParOf" srcId="{25ED6921-D04F-CC4D-989A-E3019A2E2F4F}" destId="{688CBFC9-CF51-6A4C-A892-4A80D3E91B9C}" srcOrd="1" destOrd="0" presId="urn:microsoft.com/office/officeart/2005/8/layout/hierarchy1"/>
    <dgm:cxn modelId="{0D2FE5CA-44A6-6E4A-8C34-9D8F3E5E48F4}" type="presParOf" srcId="{229B772C-92EA-D74A-92D1-BA0B139CEBAE}" destId="{D2D5D9E3-027D-F14B-B70D-86B03D852600}" srcOrd="1" destOrd="0" presId="urn:microsoft.com/office/officeart/2005/8/layout/hierarchy1"/>
    <dgm:cxn modelId="{BD4FE162-2FCA-3D45-81CA-06992951DAAF}" type="presParOf" srcId="{D2D5D9E3-027D-F14B-B70D-86B03D852600}" destId="{F12BE241-1196-654B-9ADB-5C9E9D65C988}" srcOrd="0" destOrd="0" presId="urn:microsoft.com/office/officeart/2005/8/layout/hierarchy1"/>
    <dgm:cxn modelId="{9753B282-99C5-8545-8EC2-12EB1113F513}" type="presParOf" srcId="{D2D5D9E3-027D-F14B-B70D-86B03D852600}" destId="{559ABDB8-789F-0F45-A53B-94FF44072887}" srcOrd="1" destOrd="0" presId="urn:microsoft.com/office/officeart/2005/8/layout/hierarchy1"/>
    <dgm:cxn modelId="{EEB411D9-F3BC-BD46-A854-4F4825DB2DE4}" type="presParOf" srcId="{559ABDB8-789F-0F45-A53B-94FF44072887}" destId="{3BEA5185-E344-1344-B3A7-50647C9554DC}" srcOrd="0" destOrd="0" presId="urn:microsoft.com/office/officeart/2005/8/layout/hierarchy1"/>
    <dgm:cxn modelId="{5491A942-45B5-B34B-A1CB-AF403FDDB4CD}" type="presParOf" srcId="{3BEA5185-E344-1344-B3A7-50647C9554DC}" destId="{7ECDC231-B0B4-1044-90EF-2671056D5251}" srcOrd="0" destOrd="0" presId="urn:microsoft.com/office/officeart/2005/8/layout/hierarchy1"/>
    <dgm:cxn modelId="{19F211C9-1FBC-084D-8BFC-15AC896EF7B4}" type="presParOf" srcId="{3BEA5185-E344-1344-B3A7-50647C9554DC}" destId="{D4AF2446-8BB2-BC44-9E58-102FAC90164A}" srcOrd="1" destOrd="0" presId="urn:microsoft.com/office/officeart/2005/8/layout/hierarchy1"/>
    <dgm:cxn modelId="{719F9AA3-DF7C-E648-BB7C-DE74211FB2DB}" type="presParOf" srcId="{559ABDB8-789F-0F45-A53B-94FF44072887}" destId="{C796FA4C-8AC7-2A40-B76C-0B05F7B37028}" srcOrd="1" destOrd="0" presId="urn:microsoft.com/office/officeart/2005/8/layout/hierarchy1"/>
    <dgm:cxn modelId="{C1F93158-A175-994C-960D-C9F394440FB9}" type="presParOf" srcId="{C796FA4C-8AC7-2A40-B76C-0B05F7B37028}" destId="{2B82377D-A4E1-994D-B2C3-C7E946B729C5}" srcOrd="0" destOrd="0" presId="urn:microsoft.com/office/officeart/2005/8/layout/hierarchy1"/>
    <dgm:cxn modelId="{959C4D58-9C5E-9A45-B36C-C5E45CA86746}" type="presParOf" srcId="{C796FA4C-8AC7-2A40-B76C-0B05F7B37028}" destId="{EA518B5C-7256-2A4D-A1E4-4E7454366D20}" srcOrd="1" destOrd="0" presId="urn:microsoft.com/office/officeart/2005/8/layout/hierarchy1"/>
    <dgm:cxn modelId="{F092FF28-832C-754D-8173-9000FC417367}" type="presParOf" srcId="{EA518B5C-7256-2A4D-A1E4-4E7454366D20}" destId="{675B1135-33CB-3E40-82A9-4E2F5BD8F97C}" srcOrd="0" destOrd="0" presId="urn:microsoft.com/office/officeart/2005/8/layout/hierarchy1"/>
    <dgm:cxn modelId="{6FB5FF93-E87E-0644-9608-7C83C1146CBA}" type="presParOf" srcId="{675B1135-33CB-3E40-82A9-4E2F5BD8F97C}" destId="{A3249D03-CDCD-F743-9071-744E300E2489}" srcOrd="0" destOrd="0" presId="urn:microsoft.com/office/officeart/2005/8/layout/hierarchy1"/>
    <dgm:cxn modelId="{0DF5C8D9-2939-6640-9F7E-C3BB361E8164}" type="presParOf" srcId="{675B1135-33CB-3E40-82A9-4E2F5BD8F97C}" destId="{9A37EE48-0C7B-5543-95BA-2B866B6CFFC5}" srcOrd="1" destOrd="0" presId="urn:microsoft.com/office/officeart/2005/8/layout/hierarchy1"/>
    <dgm:cxn modelId="{659E6BC3-D978-8F48-93C4-F5AE358BD47E}" type="presParOf" srcId="{EA518B5C-7256-2A4D-A1E4-4E7454366D20}" destId="{A12DC939-3AD1-7D4B-A5EA-D4706C2D42B6}" srcOrd="1" destOrd="0" presId="urn:microsoft.com/office/officeart/2005/8/layout/hierarchy1"/>
    <dgm:cxn modelId="{334124D5-6D64-F842-B2D8-0F6A8C3B733E}" type="presParOf" srcId="{A12DC939-3AD1-7D4B-A5EA-D4706C2D42B6}" destId="{91DB0BAF-F501-9549-878A-8E209792FD32}" srcOrd="0" destOrd="0" presId="urn:microsoft.com/office/officeart/2005/8/layout/hierarchy1"/>
    <dgm:cxn modelId="{29BC8293-296B-9042-B9CD-14DD4612CA18}" type="presParOf" srcId="{A12DC939-3AD1-7D4B-A5EA-D4706C2D42B6}" destId="{454535BC-1531-954A-821C-B815814A3DC3}" srcOrd="1" destOrd="0" presId="urn:microsoft.com/office/officeart/2005/8/layout/hierarchy1"/>
    <dgm:cxn modelId="{52A7B35D-2708-244F-A8E3-2CF680A6A06C}" type="presParOf" srcId="{454535BC-1531-954A-821C-B815814A3DC3}" destId="{4C8A08BC-8DA8-914A-9164-14F6E812D252}" srcOrd="0" destOrd="0" presId="urn:microsoft.com/office/officeart/2005/8/layout/hierarchy1"/>
    <dgm:cxn modelId="{BD20067B-2972-D24A-97F9-0C3B7675A30D}" type="presParOf" srcId="{4C8A08BC-8DA8-914A-9164-14F6E812D252}" destId="{013E3F4F-50CC-2B4B-AEC0-1BEA47E18A54}" srcOrd="0" destOrd="0" presId="urn:microsoft.com/office/officeart/2005/8/layout/hierarchy1"/>
    <dgm:cxn modelId="{F0B2948C-62C2-7844-AEF8-D5F2105B7020}" type="presParOf" srcId="{4C8A08BC-8DA8-914A-9164-14F6E812D252}" destId="{5686E0BE-C1C5-EC45-8CAA-7F9452D02E34}" srcOrd="1" destOrd="0" presId="urn:microsoft.com/office/officeart/2005/8/layout/hierarchy1"/>
    <dgm:cxn modelId="{0977EA53-5EE9-CD48-85B6-4D377038DF34}" type="presParOf" srcId="{454535BC-1531-954A-821C-B815814A3DC3}" destId="{EC74264F-BAA9-F847-B39A-78D5F65BA350}" srcOrd="1" destOrd="0" presId="urn:microsoft.com/office/officeart/2005/8/layout/hierarchy1"/>
    <dgm:cxn modelId="{0BAD5A92-D394-304D-AFC9-C38107B7C26A}" type="presParOf" srcId="{A12DC939-3AD1-7D4B-A5EA-D4706C2D42B6}" destId="{251B4CA8-FD13-D240-A91B-57DBF1DB0415}" srcOrd="2" destOrd="0" presId="urn:microsoft.com/office/officeart/2005/8/layout/hierarchy1"/>
    <dgm:cxn modelId="{CFFA398F-4EC6-EF4E-A8EB-62489DEEFC54}" type="presParOf" srcId="{A12DC939-3AD1-7D4B-A5EA-D4706C2D42B6}" destId="{B00B7C9D-05CC-A041-91EE-98E46BEA50E2}" srcOrd="3" destOrd="0" presId="urn:microsoft.com/office/officeart/2005/8/layout/hierarchy1"/>
    <dgm:cxn modelId="{7D56FC03-C2FD-4549-8F99-B7FB69131FDA}" type="presParOf" srcId="{B00B7C9D-05CC-A041-91EE-98E46BEA50E2}" destId="{57621D9C-612E-E345-806C-D4049E68DB51}" srcOrd="0" destOrd="0" presId="urn:microsoft.com/office/officeart/2005/8/layout/hierarchy1"/>
    <dgm:cxn modelId="{E8747357-925B-3543-896B-99C1C44ED316}" type="presParOf" srcId="{57621D9C-612E-E345-806C-D4049E68DB51}" destId="{F03A88C2-D2CD-2748-B889-C91C65E6E2BB}" srcOrd="0" destOrd="0" presId="urn:microsoft.com/office/officeart/2005/8/layout/hierarchy1"/>
    <dgm:cxn modelId="{2D7BE652-9BEA-D344-B19F-1D1CC3D367AE}" type="presParOf" srcId="{57621D9C-612E-E345-806C-D4049E68DB51}" destId="{3E6EA152-4905-344C-9D27-1F4340B46C4C}" srcOrd="1" destOrd="0" presId="urn:microsoft.com/office/officeart/2005/8/layout/hierarchy1"/>
    <dgm:cxn modelId="{6E4508A5-647A-AD4E-BBA1-D6AFB4EE0D88}" type="presParOf" srcId="{B00B7C9D-05CC-A041-91EE-98E46BEA50E2}" destId="{250B1162-CE92-F94B-AC3E-A8B9CEDAFD6E}" srcOrd="1" destOrd="0" presId="urn:microsoft.com/office/officeart/2005/8/layout/hierarchy1"/>
    <dgm:cxn modelId="{6FE865F3-E5D4-4941-80EF-F55F524E9465}" type="presParOf" srcId="{C796FA4C-8AC7-2A40-B76C-0B05F7B37028}" destId="{787BAEBB-C6A5-4846-B73F-5052A7752B7A}" srcOrd="2" destOrd="0" presId="urn:microsoft.com/office/officeart/2005/8/layout/hierarchy1"/>
    <dgm:cxn modelId="{077C3BE0-91D9-9D48-84EA-1ACE9720105E}" type="presParOf" srcId="{C796FA4C-8AC7-2A40-B76C-0B05F7B37028}" destId="{F33FD33C-98D7-3542-A4BF-0A4DD79261AD}" srcOrd="3" destOrd="0" presId="urn:microsoft.com/office/officeart/2005/8/layout/hierarchy1"/>
    <dgm:cxn modelId="{BDA9566E-B6CB-5945-8F55-F4E0B7626D38}" type="presParOf" srcId="{F33FD33C-98D7-3542-A4BF-0A4DD79261AD}" destId="{385D75BC-ED43-0641-86E1-17B5BAD20B2F}" srcOrd="0" destOrd="0" presId="urn:microsoft.com/office/officeart/2005/8/layout/hierarchy1"/>
    <dgm:cxn modelId="{4B055720-B6C8-894D-ABE6-2455F2CED466}" type="presParOf" srcId="{385D75BC-ED43-0641-86E1-17B5BAD20B2F}" destId="{566569CA-60A1-4C4F-AFF2-CDDC04B70585}" srcOrd="0" destOrd="0" presId="urn:microsoft.com/office/officeart/2005/8/layout/hierarchy1"/>
    <dgm:cxn modelId="{B98536AF-1D4E-4D43-B45F-825051460D46}" type="presParOf" srcId="{385D75BC-ED43-0641-86E1-17B5BAD20B2F}" destId="{FB2451F5-A243-E544-B2E0-CD798B574787}" srcOrd="1" destOrd="0" presId="urn:microsoft.com/office/officeart/2005/8/layout/hierarchy1"/>
    <dgm:cxn modelId="{ECB57181-4DB2-A842-BCD4-3C7DDCA90A96}" type="presParOf" srcId="{F33FD33C-98D7-3542-A4BF-0A4DD79261AD}" destId="{75D3574E-5C89-4646-882E-07AB6BEC17D5}" srcOrd="1" destOrd="0" presId="urn:microsoft.com/office/officeart/2005/8/layout/hierarchy1"/>
    <dgm:cxn modelId="{C3BC471F-DD1E-244B-84AC-E3B46F529D2B}" type="presParOf" srcId="{75D3574E-5C89-4646-882E-07AB6BEC17D5}" destId="{C0E88B73-3140-9B45-ADBE-E381220B76C4}" srcOrd="0" destOrd="0" presId="urn:microsoft.com/office/officeart/2005/8/layout/hierarchy1"/>
    <dgm:cxn modelId="{A191DA64-6910-B840-A3AD-EE75903D5D09}" type="presParOf" srcId="{75D3574E-5C89-4646-882E-07AB6BEC17D5}" destId="{65AFCF96-BEAB-2146-9616-04B6CCF46EE4}" srcOrd="1" destOrd="0" presId="urn:microsoft.com/office/officeart/2005/8/layout/hierarchy1"/>
    <dgm:cxn modelId="{DC2E8BD7-9FE9-FE44-AA1F-E00D914E7AE5}" type="presParOf" srcId="{65AFCF96-BEAB-2146-9616-04B6CCF46EE4}" destId="{428A51A6-FBD7-5447-9F90-16D5C4AEDCD5}" srcOrd="0" destOrd="0" presId="urn:microsoft.com/office/officeart/2005/8/layout/hierarchy1"/>
    <dgm:cxn modelId="{BAEE03DD-BF79-024E-A23C-F9FE78E4AF78}" type="presParOf" srcId="{428A51A6-FBD7-5447-9F90-16D5C4AEDCD5}" destId="{D1D63DA7-35DA-2140-8AB4-BBBFE1A99F8C}" srcOrd="0" destOrd="0" presId="urn:microsoft.com/office/officeart/2005/8/layout/hierarchy1"/>
    <dgm:cxn modelId="{296ADCFB-A9D0-D449-8364-7B08BB1B4275}" type="presParOf" srcId="{428A51A6-FBD7-5447-9F90-16D5C4AEDCD5}" destId="{ADD942DA-F9AE-A54E-8F58-9123C760AA04}" srcOrd="1" destOrd="0" presId="urn:microsoft.com/office/officeart/2005/8/layout/hierarchy1"/>
    <dgm:cxn modelId="{A7EDD30B-F1BA-BD42-B540-744FBF2A513F}" type="presParOf" srcId="{65AFCF96-BEAB-2146-9616-04B6CCF46EE4}" destId="{3BA4C0C6-707A-CE44-B709-9A78331EA730}" srcOrd="1" destOrd="0" presId="urn:microsoft.com/office/officeart/2005/8/layout/hierarchy1"/>
    <dgm:cxn modelId="{2DCFE8B7-5926-4241-84F0-A89CF24C16A4}" type="presParOf" srcId="{75D3574E-5C89-4646-882E-07AB6BEC17D5}" destId="{4BDD72AF-9300-FE41-87F4-27880B7B7760}" srcOrd="2" destOrd="0" presId="urn:microsoft.com/office/officeart/2005/8/layout/hierarchy1"/>
    <dgm:cxn modelId="{98CC758C-10B0-C94F-BEEA-4F5C85AA2E46}" type="presParOf" srcId="{75D3574E-5C89-4646-882E-07AB6BEC17D5}" destId="{72F4D759-43D3-C442-A09F-B4C61A31E41E}" srcOrd="3" destOrd="0" presId="urn:microsoft.com/office/officeart/2005/8/layout/hierarchy1"/>
    <dgm:cxn modelId="{361B9DE2-965E-4A47-AE58-37489D2F7662}" type="presParOf" srcId="{72F4D759-43D3-C442-A09F-B4C61A31E41E}" destId="{C2F8B43B-B426-904A-801B-33FB61348AE2}" srcOrd="0" destOrd="0" presId="urn:microsoft.com/office/officeart/2005/8/layout/hierarchy1"/>
    <dgm:cxn modelId="{A3091EF1-E746-244F-BEE8-B550B228F8FF}" type="presParOf" srcId="{C2F8B43B-B426-904A-801B-33FB61348AE2}" destId="{B406D17C-37E4-654E-844A-37B1D1EE2181}" srcOrd="0" destOrd="0" presId="urn:microsoft.com/office/officeart/2005/8/layout/hierarchy1"/>
    <dgm:cxn modelId="{1294DA20-15A9-2346-A03E-A2E1913F826D}" type="presParOf" srcId="{C2F8B43B-B426-904A-801B-33FB61348AE2}" destId="{1CC27B90-AC9A-2A4F-BC62-34743178EAEA}" srcOrd="1" destOrd="0" presId="urn:microsoft.com/office/officeart/2005/8/layout/hierarchy1"/>
    <dgm:cxn modelId="{0CEC5F46-440E-364F-A782-329654B08DD9}" type="presParOf" srcId="{72F4D759-43D3-C442-A09F-B4C61A31E41E}" destId="{9B1C7C5B-B527-5842-8392-11C0F3954104}" srcOrd="1" destOrd="0" presId="urn:microsoft.com/office/officeart/2005/8/layout/hierarchy1"/>
    <dgm:cxn modelId="{A367C39C-05C7-5846-AFC2-624655F58B03}" type="presParOf" srcId="{D2D5D9E3-027D-F14B-B70D-86B03D852600}" destId="{3C56EFE0-A99A-1A4E-8820-C664E6B497CB}" srcOrd="2" destOrd="0" presId="urn:microsoft.com/office/officeart/2005/8/layout/hierarchy1"/>
    <dgm:cxn modelId="{87077250-BD6A-B642-8C76-8F31165AD878}" type="presParOf" srcId="{D2D5D9E3-027D-F14B-B70D-86B03D852600}" destId="{6E66499E-611A-7447-9B15-820BC0E81A08}" srcOrd="3" destOrd="0" presId="urn:microsoft.com/office/officeart/2005/8/layout/hierarchy1"/>
    <dgm:cxn modelId="{00B6FA9E-BF2D-0E43-9E93-8E4384BBE9AC}" type="presParOf" srcId="{6E66499E-611A-7447-9B15-820BC0E81A08}" destId="{6750678C-050F-1C4F-A92D-84DE20681905}" srcOrd="0" destOrd="0" presId="urn:microsoft.com/office/officeart/2005/8/layout/hierarchy1"/>
    <dgm:cxn modelId="{00637E88-B2A1-4F4D-96F4-89AAF83C90EF}" type="presParOf" srcId="{6750678C-050F-1C4F-A92D-84DE20681905}" destId="{8AF0E105-A16A-614F-9F50-33C446FC97DD}" srcOrd="0" destOrd="0" presId="urn:microsoft.com/office/officeart/2005/8/layout/hierarchy1"/>
    <dgm:cxn modelId="{DCE7FB47-7BA2-2646-889F-AC22DA3B9F0B}" type="presParOf" srcId="{6750678C-050F-1C4F-A92D-84DE20681905}" destId="{21234BA2-BC97-994E-8051-7A5DB50E6C0B}" srcOrd="1" destOrd="0" presId="urn:microsoft.com/office/officeart/2005/8/layout/hierarchy1"/>
    <dgm:cxn modelId="{812C216B-03B4-1A4A-AF24-4079BCB6DFB8}" type="presParOf" srcId="{6E66499E-611A-7447-9B15-820BC0E81A08}" destId="{3A956C71-E8B4-8B4A-93F0-EA2F0DE7CCA0}" srcOrd="1" destOrd="0" presId="urn:microsoft.com/office/officeart/2005/8/layout/hierarchy1"/>
    <dgm:cxn modelId="{05242BC5-96C7-E442-8E9F-CA6C220A0B3D}" type="presParOf" srcId="{3A956C71-E8B4-8B4A-93F0-EA2F0DE7CCA0}" destId="{7896787E-B596-3D47-AF70-7BF1181711DA}" srcOrd="0" destOrd="0" presId="urn:microsoft.com/office/officeart/2005/8/layout/hierarchy1"/>
    <dgm:cxn modelId="{9B3F933D-B885-0543-A37D-4C059CC8FDDF}" type="presParOf" srcId="{3A956C71-E8B4-8B4A-93F0-EA2F0DE7CCA0}" destId="{6E61B842-0A2C-EE4F-B07C-A4ECEB8F964B}" srcOrd="1" destOrd="0" presId="urn:microsoft.com/office/officeart/2005/8/layout/hierarchy1"/>
    <dgm:cxn modelId="{8A596E8D-BF12-764C-A205-9DE8F23AAB01}" type="presParOf" srcId="{6E61B842-0A2C-EE4F-B07C-A4ECEB8F964B}" destId="{FD5E0805-28B0-F14E-8FC8-ECA7EAEC278F}" srcOrd="0" destOrd="0" presId="urn:microsoft.com/office/officeart/2005/8/layout/hierarchy1"/>
    <dgm:cxn modelId="{21CC2139-C9BB-5D4F-9BC8-6CEA884ADE51}" type="presParOf" srcId="{FD5E0805-28B0-F14E-8FC8-ECA7EAEC278F}" destId="{F00C627A-CA09-774E-B3EA-B343D1757425}" srcOrd="0" destOrd="0" presId="urn:microsoft.com/office/officeart/2005/8/layout/hierarchy1"/>
    <dgm:cxn modelId="{49F1E531-2F63-5047-B11B-3F78D971CA2C}" type="presParOf" srcId="{FD5E0805-28B0-F14E-8FC8-ECA7EAEC278F}" destId="{87D53768-DAC1-DD48-9C31-590E8B87F5E8}" srcOrd="1" destOrd="0" presId="urn:microsoft.com/office/officeart/2005/8/layout/hierarchy1"/>
    <dgm:cxn modelId="{1623823F-F22D-F840-B5A8-6AEA4155742C}" type="presParOf" srcId="{6E61B842-0A2C-EE4F-B07C-A4ECEB8F964B}" destId="{E1BCCF2F-6156-1041-9ACF-B00FBB6814F0}" srcOrd="1" destOrd="0" presId="urn:microsoft.com/office/officeart/2005/8/layout/hierarchy1"/>
    <dgm:cxn modelId="{5487EBFB-E28E-864A-A6B8-BF1FBA8B6224}" type="presParOf" srcId="{3A956C71-E8B4-8B4A-93F0-EA2F0DE7CCA0}" destId="{2BA02BDE-F9F8-534B-AFBE-F69D41738C15}" srcOrd="2" destOrd="0" presId="urn:microsoft.com/office/officeart/2005/8/layout/hierarchy1"/>
    <dgm:cxn modelId="{DE3C7C41-BAB7-E848-BF50-CF2D5AD479A9}" type="presParOf" srcId="{3A956C71-E8B4-8B4A-93F0-EA2F0DE7CCA0}" destId="{3CEC845E-8AA7-044C-A770-6D14EC9BBB9A}" srcOrd="3" destOrd="0" presId="urn:microsoft.com/office/officeart/2005/8/layout/hierarchy1"/>
    <dgm:cxn modelId="{50D014B6-EB4E-5044-8473-823882933270}" type="presParOf" srcId="{3CEC845E-8AA7-044C-A770-6D14EC9BBB9A}" destId="{9A4A965F-8CC5-A04E-AD23-3B8C3C217C85}" srcOrd="0" destOrd="0" presId="urn:microsoft.com/office/officeart/2005/8/layout/hierarchy1"/>
    <dgm:cxn modelId="{2E43F334-FA47-214F-9300-F9507946C6AA}" type="presParOf" srcId="{9A4A965F-8CC5-A04E-AD23-3B8C3C217C85}" destId="{EA772503-3539-5E48-A49C-0DC39BAFCA0C}" srcOrd="0" destOrd="0" presId="urn:microsoft.com/office/officeart/2005/8/layout/hierarchy1"/>
    <dgm:cxn modelId="{EAD42CB5-9122-6F49-9B9F-41D3D8553D6B}" type="presParOf" srcId="{9A4A965F-8CC5-A04E-AD23-3B8C3C217C85}" destId="{E08874E8-AAE7-6743-B9EF-1E82EF8809A9}" srcOrd="1" destOrd="0" presId="urn:microsoft.com/office/officeart/2005/8/layout/hierarchy1"/>
    <dgm:cxn modelId="{328086D0-29C3-0142-9D4B-A445116A45D5}" type="presParOf" srcId="{3CEC845E-8AA7-044C-A770-6D14EC9BBB9A}" destId="{755B5F42-C6C9-0143-B732-2B364080C6B6}" srcOrd="1" destOrd="0" presId="urn:microsoft.com/office/officeart/2005/8/layout/hierarchy1"/>
  </dgm:cxnLst>
  <dgm:bg>
    <a:noFill/>
  </dgm:bg>
  <dgm:whole>
    <a:ln w="57150" cmpd="sn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F5F6FB48-7B10-ED40-81D2-3932419EEDBC}" type="doc">
      <dgm:prSet loTypeId="urn:microsoft.com/office/officeart/2005/8/layout/hierarchy1" loCatId="" qsTypeId="urn:microsoft.com/office/officeart/2005/8/quickstyle/simple1" qsCatId="simple" csTypeId="urn:microsoft.com/office/officeart/2005/8/colors/accent1_2" csCatId="accent1" phldr="1"/>
      <dgm:spPr/>
      <dgm:t>
        <a:bodyPr/>
        <a:lstStyle/>
        <a:p>
          <a:endParaRPr lang="en-US"/>
        </a:p>
      </dgm:t>
    </dgm:pt>
    <dgm:pt modelId="{5626352F-D3AB-DF4E-AA09-8994D437BF80}">
      <dgm:prSet phldrT="[Text]"/>
      <dgm:spPr/>
      <dgm:t>
        <a:bodyPr/>
        <a:lstStyle/>
        <a:p>
          <a:r>
            <a:rPr lang="en-US" dirty="0" smtClean="0"/>
            <a:t>Contract EBITA</a:t>
          </a:r>
          <a:endParaRPr lang="en-US" dirty="0"/>
        </a:p>
      </dgm:t>
    </dgm:pt>
    <dgm:pt modelId="{E5843E20-1272-0946-8553-39141E3E97B9}" type="parTrans" cxnId="{F1AFE36E-1537-BB4B-86D6-C2A2F6F6C0E4}">
      <dgm:prSet/>
      <dgm:spPr/>
      <dgm:t>
        <a:bodyPr/>
        <a:lstStyle/>
        <a:p>
          <a:endParaRPr lang="en-US"/>
        </a:p>
      </dgm:t>
    </dgm:pt>
    <dgm:pt modelId="{3EDA65A3-DA60-D544-8DCC-82C944DB496C}" type="sibTrans" cxnId="{F1AFE36E-1537-BB4B-86D6-C2A2F6F6C0E4}">
      <dgm:prSet/>
      <dgm:spPr/>
      <dgm:t>
        <a:bodyPr/>
        <a:lstStyle/>
        <a:p>
          <a:endParaRPr lang="en-US"/>
        </a:p>
      </dgm:t>
    </dgm:pt>
    <dgm:pt modelId="{1498A202-66FB-9A4B-93B7-D4527E42D9B7}">
      <dgm:prSet phldrT="[Text]"/>
      <dgm:spPr/>
      <dgm:t>
        <a:bodyPr/>
        <a:lstStyle/>
        <a:p>
          <a:r>
            <a:rPr lang="en-US" dirty="0" smtClean="0"/>
            <a:t>Revenue</a:t>
          </a:r>
          <a:endParaRPr lang="en-US" dirty="0"/>
        </a:p>
      </dgm:t>
    </dgm:pt>
    <dgm:pt modelId="{099D5480-8234-A945-BE6D-10297A309EB4}" type="parTrans" cxnId="{55436BBA-6E31-7049-9B86-E1BC06B73F01}">
      <dgm:prSet/>
      <dgm:spPr/>
      <dgm:t>
        <a:bodyPr/>
        <a:lstStyle/>
        <a:p>
          <a:endParaRPr lang="en-US"/>
        </a:p>
      </dgm:t>
    </dgm:pt>
    <dgm:pt modelId="{CC1EDF5C-BECA-3742-97A9-BC64496CC58C}" type="sibTrans" cxnId="{55436BBA-6E31-7049-9B86-E1BC06B73F01}">
      <dgm:prSet/>
      <dgm:spPr/>
      <dgm:t>
        <a:bodyPr/>
        <a:lstStyle/>
        <a:p>
          <a:endParaRPr lang="en-US"/>
        </a:p>
      </dgm:t>
    </dgm:pt>
    <dgm:pt modelId="{2B6F7431-B74A-D74A-96C8-4919738E3E15}">
      <dgm:prSet phldrT="[Text]"/>
      <dgm:spPr/>
      <dgm:t>
        <a:bodyPr/>
        <a:lstStyle/>
        <a:p>
          <a:r>
            <a:rPr lang="en-US" dirty="0" smtClean="0"/>
            <a:t>Margin</a:t>
          </a:r>
          <a:endParaRPr lang="en-US" dirty="0"/>
        </a:p>
      </dgm:t>
    </dgm:pt>
    <dgm:pt modelId="{392B21CE-E10C-624C-8041-3374D4EF341A}" type="parTrans" cxnId="{6FF4E60E-4BA2-6D44-B1D2-41A5D5C73536}">
      <dgm:prSet/>
      <dgm:spPr/>
      <dgm:t>
        <a:bodyPr/>
        <a:lstStyle/>
        <a:p>
          <a:endParaRPr lang="en-US"/>
        </a:p>
      </dgm:t>
    </dgm:pt>
    <dgm:pt modelId="{F86E7394-8BDC-3547-9268-934044BFCF36}" type="sibTrans" cxnId="{6FF4E60E-4BA2-6D44-B1D2-41A5D5C73536}">
      <dgm:prSet/>
      <dgm:spPr/>
      <dgm:t>
        <a:bodyPr/>
        <a:lstStyle/>
        <a:p>
          <a:endParaRPr lang="en-US"/>
        </a:p>
      </dgm:t>
    </dgm:pt>
    <dgm:pt modelId="{97342FE9-4C8D-564A-8A70-4640E714B40C}">
      <dgm:prSet phldrT="[Text]"/>
      <dgm:spPr/>
      <dgm:t>
        <a:bodyPr/>
        <a:lstStyle/>
        <a:p>
          <a:r>
            <a:rPr lang="en-US" dirty="0" smtClean="0"/>
            <a:t>Customer segments</a:t>
          </a:r>
          <a:endParaRPr lang="en-US" dirty="0"/>
        </a:p>
      </dgm:t>
    </dgm:pt>
    <dgm:pt modelId="{58079D81-FE59-DF43-9167-D229C583F41F}" type="parTrans" cxnId="{821C7A82-FB54-7C48-B959-C53D8F57AEC1}">
      <dgm:prSet/>
      <dgm:spPr/>
      <dgm:t>
        <a:bodyPr/>
        <a:lstStyle/>
        <a:p>
          <a:endParaRPr lang="en-US"/>
        </a:p>
      </dgm:t>
    </dgm:pt>
    <dgm:pt modelId="{2CD4A840-377E-0946-9F88-227B3C0C9D32}" type="sibTrans" cxnId="{821C7A82-FB54-7C48-B959-C53D8F57AEC1}">
      <dgm:prSet/>
      <dgm:spPr/>
      <dgm:t>
        <a:bodyPr/>
        <a:lstStyle/>
        <a:p>
          <a:endParaRPr lang="en-US"/>
        </a:p>
      </dgm:t>
    </dgm:pt>
    <dgm:pt modelId="{9FE0D077-D53A-AD4D-93A6-1744C34D9ABC}">
      <dgm:prSet phldrT="[Text]"/>
      <dgm:spPr/>
      <dgm:t>
        <a:bodyPr/>
        <a:lstStyle/>
        <a:p>
          <a:r>
            <a:rPr lang="en-US" dirty="0" smtClean="0"/>
            <a:t>Segment profitability</a:t>
          </a:r>
          <a:endParaRPr lang="en-US" dirty="0"/>
        </a:p>
      </dgm:t>
    </dgm:pt>
    <dgm:pt modelId="{DF1113CF-5950-7042-82E1-ADFB898B6316}" type="parTrans" cxnId="{11327A02-0B0D-CA4A-AFF8-34DAD34A0271}">
      <dgm:prSet/>
      <dgm:spPr/>
      <dgm:t>
        <a:bodyPr/>
        <a:lstStyle/>
        <a:p>
          <a:endParaRPr lang="en-US"/>
        </a:p>
      </dgm:t>
    </dgm:pt>
    <dgm:pt modelId="{19B3C12B-097A-1044-B7F6-C8997265FBAA}" type="sibTrans" cxnId="{11327A02-0B0D-CA4A-AFF8-34DAD34A0271}">
      <dgm:prSet/>
      <dgm:spPr/>
      <dgm:t>
        <a:bodyPr/>
        <a:lstStyle/>
        <a:p>
          <a:endParaRPr lang="en-US"/>
        </a:p>
      </dgm:t>
    </dgm:pt>
    <dgm:pt modelId="{1917B703-E599-8C46-868F-09D21896499E}">
      <dgm:prSet phldrT="[Text]"/>
      <dgm:spPr/>
      <dgm:t>
        <a:bodyPr/>
        <a:lstStyle/>
        <a:p>
          <a:r>
            <a:rPr lang="en-US" dirty="0" smtClean="0"/>
            <a:t>Lead Quality</a:t>
          </a:r>
          <a:endParaRPr lang="en-US" dirty="0"/>
        </a:p>
      </dgm:t>
    </dgm:pt>
    <dgm:pt modelId="{B925963E-E5F5-4F46-9CAD-F3BC7ED2B54E}" type="parTrans" cxnId="{CC70AE3F-0FA6-3C46-BEDF-56CA7DFEAF2E}">
      <dgm:prSet/>
      <dgm:spPr/>
      <dgm:t>
        <a:bodyPr/>
        <a:lstStyle/>
        <a:p>
          <a:endParaRPr lang="en-US"/>
        </a:p>
      </dgm:t>
    </dgm:pt>
    <dgm:pt modelId="{E3556558-C3DA-1148-885D-B6F79443A275}" type="sibTrans" cxnId="{CC70AE3F-0FA6-3C46-BEDF-56CA7DFEAF2E}">
      <dgm:prSet/>
      <dgm:spPr/>
      <dgm:t>
        <a:bodyPr/>
        <a:lstStyle/>
        <a:p>
          <a:endParaRPr lang="en-US"/>
        </a:p>
      </dgm:t>
    </dgm:pt>
    <dgm:pt modelId="{E01164B5-18D7-6F44-93E2-B247170E4AEE}">
      <dgm:prSet phldrT="[Text]"/>
      <dgm:spPr/>
      <dgm:t>
        <a:bodyPr/>
        <a:lstStyle/>
        <a:p>
          <a:r>
            <a:rPr lang="en-US" dirty="0" smtClean="0"/>
            <a:t>Sign-up Rate</a:t>
          </a:r>
          <a:endParaRPr lang="en-US" dirty="0"/>
        </a:p>
      </dgm:t>
    </dgm:pt>
    <dgm:pt modelId="{D0F416AF-0F01-F340-8CE3-61B63C7375BE}" type="parTrans" cxnId="{317936D8-030A-074D-B3A6-12BE72F73200}">
      <dgm:prSet/>
      <dgm:spPr/>
      <dgm:t>
        <a:bodyPr/>
        <a:lstStyle/>
        <a:p>
          <a:endParaRPr lang="en-US"/>
        </a:p>
      </dgm:t>
    </dgm:pt>
    <dgm:pt modelId="{433670DA-98D9-E349-83A5-81FBD0F38C08}" type="sibTrans" cxnId="{317936D8-030A-074D-B3A6-12BE72F73200}">
      <dgm:prSet/>
      <dgm:spPr/>
      <dgm:t>
        <a:bodyPr/>
        <a:lstStyle/>
        <a:p>
          <a:endParaRPr lang="en-US"/>
        </a:p>
      </dgm:t>
    </dgm:pt>
    <dgm:pt modelId="{69486998-604A-A242-8DE0-D54BBC86174D}">
      <dgm:prSet phldrT="[Text]"/>
      <dgm:spPr/>
      <dgm:t>
        <a:bodyPr/>
        <a:lstStyle/>
        <a:p>
          <a:r>
            <a:rPr lang="en-US" dirty="0" smtClean="0"/>
            <a:t>Lead-gen Sessions</a:t>
          </a:r>
          <a:endParaRPr lang="en-US" dirty="0"/>
        </a:p>
      </dgm:t>
    </dgm:pt>
    <dgm:pt modelId="{E8F5227D-C65E-9046-8280-583FE4F0087B}" type="parTrans" cxnId="{FB2F33EA-D0E1-444C-84A3-AAFC5F727496}">
      <dgm:prSet/>
      <dgm:spPr/>
      <dgm:t>
        <a:bodyPr/>
        <a:lstStyle/>
        <a:p>
          <a:endParaRPr lang="en-US"/>
        </a:p>
      </dgm:t>
    </dgm:pt>
    <dgm:pt modelId="{356823B1-618B-B04B-96EE-F67CED11C59C}" type="sibTrans" cxnId="{FB2F33EA-D0E1-444C-84A3-AAFC5F727496}">
      <dgm:prSet/>
      <dgm:spPr/>
      <dgm:t>
        <a:bodyPr/>
        <a:lstStyle/>
        <a:p>
          <a:endParaRPr lang="en-US"/>
        </a:p>
      </dgm:t>
    </dgm:pt>
    <dgm:pt modelId="{719665E4-D6A8-714D-87F1-A5A4227176F5}">
      <dgm:prSet phldrT="[Text]"/>
      <dgm:spPr/>
      <dgm:t>
        <a:bodyPr/>
        <a:lstStyle/>
        <a:p>
          <a:r>
            <a:rPr lang="en-US" dirty="0" smtClean="0"/>
            <a:t>Lead-gen Conversion Rate</a:t>
          </a:r>
          <a:endParaRPr lang="en-US" dirty="0"/>
        </a:p>
      </dgm:t>
    </dgm:pt>
    <dgm:pt modelId="{EB93668C-A453-4F49-BE0F-2718A0EA975C}" type="parTrans" cxnId="{61DB0810-86E8-5746-BC4A-519896DA76F1}">
      <dgm:prSet/>
      <dgm:spPr/>
      <dgm:t>
        <a:bodyPr/>
        <a:lstStyle/>
        <a:p>
          <a:endParaRPr lang="en-US"/>
        </a:p>
      </dgm:t>
    </dgm:pt>
    <dgm:pt modelId="{BE671BDE-558B-5B4E-98CE-03C07791EF38}" type="sibTrans" cxnId="{61DB0810-86E8-5746-BC4A-519896DA76F1}">
      <dgm:prSet/>
      <dgm:spPr/>
      <dgm:t>
        <a:bodyPr/>
        <a:lstStyle/>
        <a:p>
          <a:endParaRPr lang="en-US"/>
        </a:p>
      </dgm:t>
    </dgm:pt>
    <dgm:pt modelId="{8C3A69CA-8BF0-3C47-8EBA-9B82176F5561}">
      <dgm:prSet phldrT="[Text]"/>
      <dgm:spPr/>
      <dgm:t>
        <a:bodyPr/>
        <a:lstStyle/>
        <a:p>
          <a:r>
            <a:rPr lang="en-US" dirty="0" smtClean="0"/>
            <a:t>Total sessions</a:t>
          </a:r>
          <a:endParaRPr lang="en-US" dirty="0"/>
        </a:p>
      </dgm:t>
    </dgm:pt>
    <dgm:pt modelId="{8BD32280-013E-C548-8FBA-FED9D145BBB9}" type="parTrans" cxnId="{CB565129-3DAD-4B41-9560-0F3B2C352745}">
      <dgm:prSet/>
      <dgm:spPr/>
      <dgm:t>
        <a:bodyPr/>
        <a:lstStyle/>
        <a:p>
          <a:endParaRPr lang="en-US"/>
        </a:p>
      </dgm:t>
    </dgm:pt>
    <dgm:pt modelId="{9A0D0E2E-AAD4-014E-A10C-0C99DCAC4187}" type="sibTrans" cxnId="{CB565129-3DAD-4B41-9560-0F3B2C352745}">
      <dgm:prSet/>
      <dgm:spPr/>
      <dgm:t>
        <a:bodyPr/>
        <a:lstStyle/>
        <a:p>
          <a:endParaRPr lang="en-US"/>
        </a:p>
      </dgm:t>
    </dgm:pt>
    <dgm:pt modelId="{1B2D276E-AFC0-EF45-8E5A-740B8E3CA99F}">
      <dgm:prSet phldrT="[Text]"/>
      <dgm:spPr/>
      <dgm:t>
        <a:bodyPr/>
        <a:lstStyle/>
        <a:p>
          <a:r>
            <a:rPr lang="en-US" dirty="0" smtClean="0"/>
            <a:t>Lead-gen CTR</a:t>
          </a:r>
          <a:endParaRPr lang="en-US" dirty="0"/>
        </a:p>
      </dgm:t>
    </dgm:pt>
    <dgm:pt modelId="{34FF1737-E745-254F-8B8A-15E4E952E40E}" type="parTrans" cxnId="{4E9D44C8-7B9F-3F4F-A0F1-B8544BE64F00}">
      <dgm:prSet/>
      <dgm:spPr/>
      <dgm:t>
        <a:bodyPr/>
        <a:lstStyle/>
        <a:p>
          <a:endParaRPr lang="en-US"/>
        </a:p>
      </dgm:t>
    </dgm:pt>
    <dgm:pt modelId="{DF1B9436-88BA-9B48-B4E0-799766AE0E39}" type="sibTrans" cxnId="{4E9D44C8-7B9F-3F4F-A0F1-B8544BE64F00}">
      <dgm:prSet/>
      <dgm:spPr/>
      <dgm:t>
        <a:bodyPr/>
        <a:lstStyle/>
        <a:p>
          <a:endParaRPr lang="en-US"/>
        </a:p>
      </dgm:t>
    </dgm:pt>
    <dgm:pt modelId="{6ED5E484-6C1D-D041-A811-90548DF9626A}">
      <dgm:prSet phldrT="[Text]"/>
      <dgm:spPr/>
      <dgm:t>
        <a:bodyPr/>
        <a:lstStyle/>
        <a:p>
          <a:r>
            <a:rPr lang="en-US" dirty="0" smtClean="0"/>
            <a:t># of Steps</a:t>
          </a:r>
          <a:endParaRPr lang="en-US" dirty="0"/>
        </a:p>
      </dgm:t>
    </dgm:pt>
    <dgm:pt modelId="{567AF9C9-AD0E-614D-8BEB-9D6793CAF68F}" type="parTrans" cxnId="{4BBED08C-75C3-CE46-85EA-B21081805763}">
      <dgm:prSet/>
      <dgm:spPr/>
      <dgm:t>
        <a:bodyPr/>
        <a:lstStyle/>
        <a:p>
          <a:endParaRPr lang="en-US"/>
        </a:p>
      </dgm:t>
    </dgm:pt>
    <dgm:pt modelId="{C3924D5A-C9F2-7941-8860-C27DF6502E50}" type="sibTrans" cxnId="{4BBED08C-75C3-CE46-85EA-B21081805763}">
      <dgm:prSet/>
      <dgm:spPr/>
      <dgm:t>
        <a:bodyPr/>
        <a:lstStyle/>
        <a:p>
          <a:endParaRPr lang="en-US"/>
        </a:p>
      </dgm:t>
    </dgm:pt>
    <dgm:pt modelId="{5DEAA9C4-A898-D54B-8B0A-BF2189D2FA36}">
      <dgm:prSet phldrT="[Text]"/>
      <dgm:spPr/>
      <dgm:t>
        <a:bodyPr/>
        <a:lstStyle/>
        <a:p>
          <a:r>
            <a:rPr lang="en-US" dirty="0" smtClean="0"/>
            <a:t>Completion % per Step</a:t>
          </a:r>
          <a:endParaRPr lang="en-US" dirty="0"/>
        </a:p>
      </dgm:t>
    </dgm:pt>
    <dgm:pt modelId="{6A324E71-75BE-4D4A-9E5D-6C895E7B9222}" type="parTrans" cxnId="{BDA7A12E-F66E-E747-BCDA-B7B404053A64}">
      <dgm:prSet/>
      <dgm:spPr/>
      <dgm:t>
        <a:bodyPr/>
        <a:lstStyle/>
        <a:p>
          <a:endParaRPr lang="en-US"/>
        </a:p>
      </dgm:t>
    </dgm:pt>
    <dgm:pt modelId="{6F081455-7FE1-A24A-AD45-D98A232417C5}" type="sibTrans" cxnId="{BDA7A12E-F66E-E747-BCDA-B7B404053A64}">
      <dgm:prSet/>
      <dgm:spPr/>
      <dgm:t>
        <a:bodyPr/>
        <a:lstStyle/>
        <a:p>
          <a:endParaRPr lang="en-US"/>
        </a:p>
      </dgm:t>
    </dgm:pt>
    <dgm:pt modelId="{FD5FDC49-1587-384F-BAA9-926CAE73A6CC}">
      <dgm:prSet phldrT="[Text]"/>
      <dgm:spPr/>
      <dgm:t>
        <a:bodyPr/>
        <a:lstStyle/>
        <a:p>
          <a:r>
            <a:rPr lang="en-US" dirty="0" smtClean="0"/>
            <a:t>Direct</a:t>
          </a:r>
          <a:endParaRPr lang="en-US" dirty="0"/>
        </a:p>
      </dgm:t>
    </dgm:pt>
    <dgm:pt modelId="{36161EBF-2161-DF46-9381-A9B9240D05BB}" type="parTrans" cxnId="{0B8C49A0-B27F-6E40-A07E-9213EE5F48A8}">
      <dgm:prSet/>
      <dgm:spPr/>
      <dgm:t>
        <a:bodyPr/>
        <a:lstStyle/>
        <a:p>
          <a:endParaRPr lang="en-US"/>
        </a:p>
      </dgm:t>
    </dgm:pt>
    <dgm:pt modelId="{F6AC1B4C-8CA8-B74E-A3D5-1A8AA3B78BC3}" type="sibTrans" cxnId="{0B8C49A0-B27F-6E40-A07E-9213EE5F48A8}">
      <dgm:prSet/>
      <dgm:spPr/>
      <dgm:t>
        <a:bodyPr/>
        <a:lstStyle/>
        <a:p>
          <a:endParaRPr lang="en-US"/>
        </a:p>
      </dgm:t>
    </dgm:pt>
    <dgm:pt modelId="{E49E72B0-4C09-E146-BE55-236BE3FD7558}">
      <dgm:prSet phldrT="[Text]"/>
      <dgm:spPr/>
      <dgm:t>
        <a:bodyPr/>
        <a:lstStyle/>
        <a:p>
          <a:r>
            <a:rPr lang="en-US" dirty="0" smtClean="0"/>
            <a:t>Organic</a:t>
          </a:r>
          <a:endParaRPr lang="en-US" dirty="0"/>
        </a:p>
      </dgm:t>
    </dgm:pt>
    <dgm:pt modelId="{C18EA454-5BCE-264C-A4F5-C7EECD4D4DF9}" type="parTrans" cxnId="{45C02F5B-ECA0-5F46-87F8-B9D35F350409}">
      <dgm:prSet/>
      <dgm:spPr/>
      <dgm:t>
        <a:bodyPr/>
        <a:lstStyle/>
        <a:p>
          <a:endParaRPr lang="en-US"/>
        </a:p>
      </dgm:t>
    </dgm:pt>
    <dgm:pt modelId="{6A366208-E37C-2E45-8EE1-E0287C0F0A10}" type="sibTrans" cxnId="{45C02F5B-ECA0-5F46-87F8-B9D35F350409}">
      <dgm:prSet/>
      <dgm:spPr/>
      <dgm:t>
        <a:bodyPr/>
        <a:lstStyle/>
        <a:p>
          <a:endParaRPr lang="en-US"/>
        </a:p>
      </dgm:t>
    </dgm:pt>
    <dgm:pt modelId="{76699592-2568-2B4B-AB2C-3AE4E34D645A}">
      <dgm:prSet phldrT="[Text]"/>
      <dgm:spPr/>
      <dgm:t>
        <a:bodyPr/>
        <a:lstStyle/>
        <a:p>
          <a:r>
            <a:rPr lang="en-US" dirty="0" smtClean="0"/>
            <a:t>Search</a:t>
          </a:r>
          <a:endParaRPr lang="en-US" dirty="0"/>
        </a:p>
      </dgm:t>
    </dgm:pt>
    <dgm:pt modelId="{06FB42A4-3D56-BC47-AD5D-B6FA3FAADDA2}" type="parTrans" cxnId="{571DD441-1CBC-3848-85B4-54FD8D4B0AE6}">
      <dgm:prSet/>
      <dgm:spPr/>
      <dgm:t>
        <a:bodyPr/>
        <a:lstStyle/>
        <a:p>
          <a:endParaRPr lang="en-US"/>
        </a:p>
      </dgm:t>
    </dgm:pt>
    <dgm:pt modelId="{B79D64A2-3CD0-9C40-A013-A4AAD40BA12F}" type="sibTrans" cxnId="{571DD441-1CBC-3848-85B4-54FD8D4B0AE6}">
      <dgm:prSet/>
      <dgm:spPr/>
      <dgm:t>
        <a:bodyPr/>
        <a:lstStyle/>
        <a:p>
          <a:endParaRPr lang="en-US"/>
        </a:p>
      </dgm:t>
    </dgm:pt>
    <dgm:pt modelId="{500DF840-9E71-294C-9C3C-6D14D95FE0B7}">
      <dgm:prSet phldrT="[Text]"/>
      <dgm:spPr/>
      <dgm:t>
        <a:bodyPr/>
        <a:lstStyle/>
        <a:p>
          <a:r>
            <a:rPr lang="en-US" dirty="0" smtClean="0"/>
            <a:t>CTA Effectiveness</a:t>
          </a:r>
          <a:endParaRPr lang="en-US" dirty="0"/>
        </a:p>
      </dgm:t>
    </dgm:pt>
    <dgm:pt modelId="{F0C2078F-E5C5-A54E-A98F-4AE67A378064}" type="parTrans" cxnId="{5FBBB5C6-901C-E04A-9221-5BC5080429B7}">
      <dgm:prSet/>
      <dgm:spPr/>
      <dgm:t>
        <a:bodyPr/>
        <a:lstStyle/>
        <a:p>
          <a:endParaRPr lang="en-US"/>
        </a:p>
      </dgm:t>
    </dgm:pt>
    <dgm:pt modelId="{03264B54-A838-3F4A-A1DC-2D1942AE2B01}" type="sibTrans" cxnId="{5FBBB5C6-901C-E04A-9221-5BC5080429B7}">
      <dgm:prSet/>
      <dgm:spPr/>
      <dgm:t>
        <a:bodyPr/>
        <a:lstStyle/>
        <a:p>
          <a:endParaRPr lang="en-US"/>
        </a:p>
      </dgm:t>
    </dgm:pt>
    <dgm:pt modelId="{2628D688-6482-5B4C-B2AE-9A84D0C5A8B7}">
      <dgm:prSet phldrT="[Text]"/>
      <dgm:spPr/>
      <dgm:t>
        <a:bodyPr/>
        <a:lstStyle/>
        <a:p>
          <a:r>
            <a:rPr lang="en-US" dirty="0" smtClean="0"/>
            <a:t>Complexity of CTA</a:t>
          </a:r>
          <a:endParaRPr lang="en-US" dirty="0"/>
        </a:p>
      </dgm:t>
    </dgm:pt>
    <dgm:pt modelId="{B991B469-2361-2A43-A05E-DB80BD6E7160}" type="parTrans" cxnId="{F1C54660-21A6-B84A-B146-A9BBD915928F}">
      <dgm:prSet/>
      <dgm:spPr/>
      <dgm:t>
        <a:bodyPr/>
        <a:lstStyle/>
        <a:p>
          <a:endParaRPr lang="en-US"/>
        </a:p>
      </dgm:t>
    </dgm:pt>
    <dgm:pt modelId="{D15A4FC7-EDB8-DF4A-97EC-78E091CFF4A1}" type="sibTrans" cxnId="{F1C54660-21A6-B84A-B146-A9BBD915928F}">
      <dgm:prSet/>
      <dgm:spPr/>
      <dgm:t>
        <a:bodyPr/>
        <a:lstStyle/>
        <a:p>
          <a:endParaRPr lang="en-US"/>
        </a:p>
      </dgm:t>
    </dgm:pt>
    <dgm:pt modelId="{849C958E-899B-944D-9C75-A00031524494}">
      <dgm:prSet phldrT="[Text]"/>
      <dgm:spPr/>
      <dgm:t>
        <a:bodyPr/>
        <a:lstStyle/>
        <a:p>
          <a:r>
            <a:rPr lang="en-US" dirty="0" smtClean="0"/>
            <a:t>Amount of Distractions</a:t>
          </a:r>
          <a:endParaRPr lang="en-US" dirty="0"/>
        </a:p>
      </dgm:t>
    </dgm:pt>
    <dgm:pt modelId="{EE9F3B3B-35BA-334C-9972-70CDE9A8EF50}" type="parTrans" cxnId="{C080C157-84DF-014A-A936-45A65F3D3773}">
      <dgm:prSet/>
      <dgm:spPr/>
      <dgm:t>
        <a:bodyPr/>
        <a:lstStyle/>
        <a:p>
          <a:endParaRPr lang="en-US"/>
        </a:p>
      </dgm:t>
    </dgm:pt>
    <dgm:pt modelId="{4EF9B1C6-A38E-624D-8226-3B7998818B47}" type="sibTrans" cxnId="{C080C157-84DF-014A-A936-45A65F3D3773}">
      <dgm:prSet/>
      <dgm:spPr/>
      <dgm:t>
        <a:bodyPr/>
        <a:lstStyle/>
        <a:p>
          <a:endParaRPr lang="en-US"/>
        </a:p>
      </dgm:t>
    </dgm:pt>
    <dgm:pt modelId="{F85FBB7C-B1D1-1C42-8F20-B11247F08C98}" type="pres">
      <dgm:prSet presAssocID="{F5F6FB48-7B10-ED40-81D2-3932419EEDBC}" presName="hierChild1" presStyleCnt="0">
        <dgm:presLayoutVars>
          <dgm:chPref val="1"/>
          <dgm:dir/>
          <dgm:animOne val="branch"/>
          <dgm:animLvl val="lvl"/>
          <dgm:resizeHandles/>
        </dgm:presLayoutVars>
      </dgm:prSet>
      <dgm:spPr/>
      <dgm:t>
        <a:bodyPr/>
        <a:lstStyle/>
        <a:p>
          <a:endParaRPr lang="en-US"/>
        </a:p>
      </dgm:t>
    </dgm:pt>
    <dgm:pt modelId="{902CA791-1C58-734C-B5D7-6108C41E80A8}" type="pres">
      <dgm:prSet presAssocID="{5626352F-D3AB-DF4E-AA09-8994D437BF80}" presName="hierRoot1" presStyleCnt="0"/>
      <dgm:spPr/>
    </dgm:pt>
    <dgm:pt modelId="{BBF9251B-84E2-4541-92B8-7E947C50D700}" type="pres">
      <dgm:prSet presAssocID="{5626352F-D3AB-DF4E-AA09-8994D437BF80}" presName="composite" presStyleCnt="0"/>
      <dgm:spPr/>
    </dgm:pt>
    <dgm:pt modelId="{74439E30-1CA4-564F-A1C2-36FE9AA485D0}" type="pres">
      <dgm:prSet presAssocID="{5626352F-D3AB-DF4E-AA09-8994D437BF80}" presName="background" presStyleLbl="node0" presStyleIdx="0" presStyleCnt="1"/>
      <dgm:spPr/>
    </dgm:pt>
    <dgm:pt modelId="{B5031592-DE8B-564A-92B2-E56F91AA9611}" type="pres">
      <dgm:prSet presAssocID="{5626352F-D3AB-DF4E-AA09-8994D437BF80}" presName="text" presStyleLbl="fgAcc0" presStyleIdx="0" presStyleCnt="1" custLinFactNeighborX="40632">
        <dgm:presLayoutVars>
          <dgm:chPref val="3"/>
        </dgm:presLayoutVars>
      </dgm:prSet>
      <dgm:spPr/>
      <dgm:t>
        <a:bodyPr/>
        <a:lstStyle/>
        <a:p>
          <a:endParaRPr lang="en-US"/>
        </a:p>
      </dgm:t>
    </dgm:pt>
    <dgm:pt modelId="{6270910C-4C7E-F84B-81F7-C94BC7E95F11}" type="pres">
      <dgm:prSet presAssocID="{5626352F-D3AB-DF4E-AA09-8994D437BF80}" presName="hierChild2" presStyleCnt="0"/>
      <dgm:spPr/>
    </dgm:pt>
    <dgm:pt modelId="{7753DE0D-DEFD-BE46-B86B-A16CEA7A5DF4}" type="pres">
      <dgm:prSet presAssocID="{099D5480-8234-A945-BE6D-10297A309EB4}" presName="Name10" presStyleLbl="parChTrans1D2" presStyleIdx="0" presStyleCnt="2"/>
      <dgm:spPr/>
      <dgm:t>
        <a:bodyPr/>
        <a:lstStyle/>
        <a:p>
          <a:endParaRPr lang="en-US"/>
        </a:p>
      </dgm:t>
    </dgm:pt>
    <dgm:pt modelId="{2D2C7724-F5EF-7243-9970-0E29C72F1E70}" type="pres">
      <dgm:prSet presAssocID="{1498A202-66FB-9A4B-93B7-D4527E42D9B7}" presName="hierRoot2" presStyleCnt="0"/>
      <dgm:spPr/>
    </dgm:pt>
    <dgm:pt modelId="{290694AF-2643-BA40-A543-DBB72FFCB47E}" type="pres">
      <dgm:prSet presAssocID="{1498A202-66FB-9A4B-93B7-D4527E42D9B7}" presName="composite2" presStyleCnt="0"/>
      <dgm:spPr/>
    </dgm:pt>
    <dgm:pt modelId="{3867FE00-65C5-0640-9651-6CDF12167571}" type="pres">
      <dgm:prSet presAssocID="{1498A202-66FB-9A4B-93B7-D4527E42D9B7}" presName="background2" presStyleLbl="node2" presStyleIdx="0" presStyleCnt="2"/>
      <dgm:spPr/>
    </dgm:pt>
    <dgm:pt modelId="{A53DDEA5-F425-3446-8EDE-FCF66971D0F9}" type="pres">
      <dgm:prSet presAssocID="{1498A202-66FB-9A4B-93B7-D4527E42D9B7}" presName="text2" presStyleLbl="fgAcc2" presStyleIdx="0" presStyleCnt="2">
        <dgm:presLayoutVars>
          <dgm:chPref val="3"/>
        </dgm:presLayoutVars>
      </dgm:prSet>
      <dgm:spPr/>
      <dgm:t>
        <a:bodyPr/>
        <a:lstStyle/>
        <a:p>
          <a:endParaRPr lang="en-US"/>
        </a:p>
      </dgm:t>
    </dgm:pt>
    <dgm:pt modelId="{AEDB2881-E098-BB40-B423-8217791167BC}" type="pres">
      <dgm:prSet presAssocID="{1498A202-66FB-9A4B-93B7-D4527E42D9B7}" presName="hierChild3" presStyleCnt="0"/>
      <dgm:spPr/>
    </dgm:pt>
    <dgm:pt modelId="{1083B41E-2B5A-1F48-9CB4-2224C3C89A53}" type="pres">
      <dgm:prSet presAssocID="{B925963E-E5F5-4F46-9CAD-F3BC7ED2B54E}" presName="Name17" presStyleLbl="parChTrans1D3" presStyleIdx="0" presStyleCnt="4"/>
      <dgm:spPr/>
      <dgm:t>
        <a:bodyPr/>
        <a:lstStyle/>
        <a:p>
          <a:endParaRPr lang="en-US"/>
        </a:p>
      </dgm:t>
    </dgm:pt>
    <dgm:pt modelId="{45F86BE2-E028-F14E-9159-619240FC69A2}" type="pres">
      <dgm:prSet presAssocID="{1917B703-E599-8C46-868F-09D21896499E}" presName="hierRoot3" presStyleCnt="0"/>
      <dgm:spPr/>
    </dgm:pt>
    <dgm:pt modelId="{C39E52F6-7BC6-0442-94C4-45577E04296D}" type="pres">
      <dgm:prSet presAssocID="{1917B703-E599-8C46-868F-09D21896499E}" presName="composite3" presStyleCnt="0"/>
      <dgm:spPr/>
    </dgm:pt>
    <dgm:pt modelId="{503EBDB7-A1DF-2546-998C-6EC85E54F0D4}" type="pres">
      <dgm:prSet presAssocID="{1917B703-E599-8C46-868F-09D21896499E}" presName="background3" presStyleLbl="node3" presStyleIdx="0" presStyleCnt="4"/>
      <dgm:spPr/>
    </dgm:pt>
    <dgm:pt modelId="{38870230-33BD-DC4F-A768-0B722E8F5B52}" type="pres">
      <dgm:prSet presAssocID="{1917B703-E599-8C46-868F-09D21896499E}" presName="text3" presStyleLbl="fgAcc3" presStyleIdx="0" presStyleCnt="4">
        <dgm:presLayoutVars>
          <dgm:chPref val="3"/>
        </dgm:presLayoutVars>
      </dgm:prSet>
      <dgm:spPr/>
      <dgm:t>
        <a:bodyPr/>
        <a:lstStyle/>
        <a:p>
          <a:endParaRPr lang="en-US"/>
        </a:p>
      </dgm:t>
    </dgm:pt>
    <dgm:pt modelId="{8A29507C-930C-E441-BCE7-A5C9A191681B}" type="pres">
      <dgm:prSet presAssocID="{1917B703-E599-8C46-868F-09D21896499E}" presName="hierChild4" presStyleCnt="0"/>
      <dgm:spPr/>
    </dgm:pt>
    <dgm:pt modelId="{D332FBA9-AE39-004F-9412-F8F017508D56}" type="pres">
      <dgm:prSet presAssocID="{D0F416AF-0F01-F340-8CE3-61B63C7375BE}" presName="Name17" presStyleLbl="parChTrans1D3" presStyleIdx="1" presStyleCnt="4"/>
      <dgm:spPr/>
      <dgm:t>
        <a:bodyPr/>
        <a:lstStyle/>
        <a:p>
          <a:endParaRPr lang="en-US"/>
        </a:p>
      </dgm:t>
    </dgm:pt>
    <dgm:pt modelId="{7824B58E-0638-0640-96C4-58CE358A3B6A}" type="pres">
      <dgm:prSet presAssocID="{E01164B5-18D7-6F44-93E2-B247170E4AEE}" presName="hierRoot3" presStyleCnt="0"/>
      <dgm:spPr/>
    </dgm:pt>
    <dgm:pt modelId="{7C8FBA23-53E9-4841-97EF-07C9DF272816}" type="pres">
      <dgm:prSet presAssocID="{E01164B5-18D7-6F44-93E2-B247170E4AEE}" presName="composite3" presStyleCnt="0"/>
      <dgm:spPr/>
    </dgm:pt>
    <dgm:pt modelId="{47209852-F2C8-CB4C-9E0C-0F3372FBFC44}" type="pres">
      <dgm:prSet presAssocID="{E01164B5-18D7-6F44-93E2-B247170E4AEE}" presName="background3" presStyleLbl="node3" presStyleIdx="1" presStyleCnt="4"/>
      <dgm:spPr/>
    </dgm:pt>
    <dgm:pt modelId="{069C031B-A432-E04B-8A50-3B732AF1A6BE}" type="pres">
      <dgm:prSet presAssocID="{E01164B5-18D7-6F44-93E2-B247170E4AEE}" presName="text3" presStyleLbl="fgAcc3" presStyleIdx="1" presStyleCnt="4">
        <dgm:presLayoutVars>
          <dgm:chPref val="3"/>
        </dgm:presLayoutVars>
      </dgm:prSet>
      <dgm:spPr/>
      <dgm:t>
        <a:bodyPr/>
        <a:lstStyle/>
        <a:p>
          <a:endParaRPr lang="en-US"/>
        </a:p>
      </dgm:t>
    </dgm:pt>
    <dgm:pt modelId="{89EB0A1B-2EE1-324A-BAF6-B3FD90EB11BB}" type="pres">
      <dgm:prSet presAssocID="{E01164B5-18D7-6F44-93E2-B247170E4AEE}" presName="hierChild4" presStyleCnt="0"/>
      <dgm:spPr/>
    </dgm:pt>
    <dgm:pt modelId="{5B891F52-CC19-764F-AAB9-7ACED231CE3C}" type="pres">
      <dgm:prSet presAssocID="{E8F5227D-C65E-9046-8280-583FE4F0087B}" presName="Name23" presStyleLbl="parChTrans1D4" presStyleIdx="0" presStyleCnt="12"/>
      <dgm:spPr/>
      <dgm:t>
        <a:bodyPr/>
        <a:lstStyle/>
        <a:p>
          <a:endParaRPr lang="en-US"/>
        </a:p>
      </dgm:t>
    </dgm:pt>
    <dgm:pt modelId="{B7B3E507-A4F1-3A46-BC42-F025F43BD79B}" type="pres">
      <dgm:prSet presAssocID="{69486998-604A-A242-8DE0-D54BBC86174D}" presName="hierRoot4" presStyleCnt="0"/>
      <dgm:spPr/>
    </dgm:pt>
    <dgm:pt modelId="{54C9327D-A628-BA4D-B51D-DC47D36615BA}" type="pres">
      <dgm:prSet presAssocID="{69486998-604A-A242-8DE0-D54BBC86174D}" presName="composite4" presStyleCnt="0"/>
      <dgm:spPr/>
    </dgm:pt>
    <dgm:pt modelId="{A04C38D2-B238-7341-809D-6E982D2CEBBE}" type="pres">
      <dgm:prSet presAssocID="{69486998-604A-A242-8DE0-D54BBC86174D}" presName="background4" presStyleLbl="node4" presStyleIdx="0" presStyleCnt="12"/>
      <dgm:spPr/>
    </dgm:pt>
    <dgm:pt modelId="{15707D6B-51BE-9945-811B-2813CC24F399}" type="pres">
      <dgm:prSet presAssocID="{69486998-604A-A242-8DE0-D54BBC86174D}" presName="text4" presStyleLbl="fgAcc4" presStyleIdx="0" presStyleCnt="12">
        <dgm:presLayoutVars>
          <dgm:chPref val="3"/>
        </dgm:presLayoutVars>
      </dgm:prSet>
      <dgm:spPr/>
      <dgm:t>
        <a:bodyPr/>
        <a:lstStyle/>
        <a:p>
          <a:endParaRPr lang="en-US"/>
        </a:p>
      </dgm:t>
    </dgm:pt>
    <dgm:pt modelId="{12BAAE59-E812-674E-91F9-027B0A077A2E}" type="pres">
      <dgm:prSet presAssocID="{69486998-604A-A242-8DE0-D54BBC86174D}" presName="hierChild5" presStyleCnt="0"/>
      <dgm:spPr/>
    </dgm:pt>
    <dgm:pt modelId="{4CC94D77-376C-664B-B617-E9DD7A4E7B1F}" type="pres">
      <dgm:prSet presAssocID="{8BD32280-013E-C548-8FBA-FED9D145BBB9}" presName="Name23" presStyleLbl="parChTrans1D4" presStyleIdx="1" presStyleCnt="12"/>
      <dgm:spPr/>
      <dgm:t>
        <a:bodyPr/>
        <a:lstStyle/>
        <a:p>
          <a:endParaRPr lang="en-US"/>
        </a:p>
      </dgm:t>
    </dgm:pt>
    <dgm:pt modelId="{015D2E28-83D5-3041-B5DC-E818401318BD}" type="pres">
      <dgm:prSet presAssocID="{8C3A69CA-8BF0-3C47-8EBA-9B82176F5561}" presName="hierRoot4" presStyleCnt="0"/>
      <dgm:spPr/>
    </dgm:pt>
    <dgm:pt modelId="{6E513587-C0C8-014E-9E16-D448004672C7}" type="pres">
      <dgm:prSet presAssocID="{8C3A69CA-8BF0-3C47-8EBA-9B82176F5561}" presName="composite4" presStyleCnt="0"/>
      <dgm:spPr/>
    </dgm:pt>
    <dgm:pt modelId="{F38E57DC-BF51-9245-BDAF-073F7F1C2273}" type="pres">
      <dgm:prSet presAssocID="{8C3A69CA-8BF0-3C47-8EBA-9B82176F5561}" presName="background4" presStyleLbl="node4" presStyleIdx="1" presStyleCnt="12"/>
      <dgm:spPr/>
    </dgm:pt>
    <dgm:pt modelId="{DE716B40-110C-7448-A2D5-CA37EA171223}" type="pres">
      <dgm:prSet presAssocID="{8C3A69CA-8BF0-3C47-8EBA-9B82176F5561}" presName="text4" presStyleLbl="fgAcc4" presStyleIdx="1" presStyleCnt="12">
        <dgm:presLayoutVars>
          <dgm:chPref val="3"/>
        </dgm:presLayoutVars>
      </dgm:prSet>
      <dgm:spPr/>
      <dgm:t>
        <a:bodyPr/>
        <a:lstStyle/>
        <a:p>
          <a:endParaRPr lang="en-US"/>
        </a:p>
      </dgm:t>
    </dgm:pt>
    <dgm:pt modelId="{F249E2B2-6214-9F47-89CB-C8829E34350A}" type="pres">
      <dgm:prSet presAssocID="{8C3A69CA-8BF0-3C47-8EBA-9B82176F5561}" presName="hierChild5" presStyleCnt="0"/>
      <dgm:spPr/>
    </dgm:pt>
    <dgm:pt modelId="{B73B3C84-FD93-4E4C-B24B-7C32700A2744}" type="pres">
      <dgm:prSet presAssocID="{36161EBF-2161-DF46-9381-A9B9240D05BB}" presName="Name23" presStyleLbl="parChTrans1D4" presStyleIdx="2" presStyleCnt="12"/>
      <dgm:spPr/>
      <dgm:t>
        <a:bodyPr/>
        <a:lstStyle/>
        <a:p>
          <a:endParaRPr lang="en-US"/>
        </a:p>
      </dgm:t>
    </dgm:pt>
    <dgm:pt modelId="{5323540D-1EB0-B148-8A3E-EAB86701080B}" type="pres">
      <dgm:prSet presAssocID="{FD5FDC49-1587-384F-BAA9-926CAE73A6CC}" presName="hierRoot4" presStyleCnt="0"/>
      <dgm:spPr/>
    </dgm:pt>
    <dgm:pt modelId="{4D4C83E9-459D-BE42-87AB-8AF7ABE9D030}" type="pres">
      <dgm:prSet presAssocID="{FD5FDC49-1587-384F-BAA9-926CAE73A6CC}" presName="composite4" presStyleCnt="0"/>
      <dgm:spPr/>
    </dgm:pt>
    <dgm:pt modelId="{8EBE9145-C987-BB40-8CA9-209A01DF22A0}" type="pres">
      <dgm:prSet presAssocID="{FD5FDC49-1587-384F-BAA9-926CAE73A6CC}" presName="background4" presStyleLbl="node4" presStyleIdx="2" presStyleCnt="12"/>
      <dgm:spPr/>
    </dgm:pt>
    <dgm:pt modelId="{32AE5C9D-2F01-7A4F-865D-708C3E717BBC}" type="pres">
      <dgm:prSet presAssocID="{FD5FDC49-1587-384F-BAA9-926CAE73A6CC}" presName="text4" presStyleLbl="fgAcc4" presStyleIdx="2" presStyleCnt="12">
        <dgm:presLayoutVars>
          <dgm:chPref val="3"/>
        </dgm:presLayoutVars>
      </dgm:prSet>
      <dgm:spPr/>
      <dgm:t>
        <a:bodyPr/>
        <a:lstStyle/>
        <a:p>
          <a:endParaRPr lang="en-US"/>
        </a:p>
      </dgm:t>
    </dgm:pt>
    <dgm:pt modelId="{5DB425A7-086E-4F40-81A0-32A53BE58DA8}" type="pres">
      <dgm:prSet presAssocID="{FD5FDC49-1587-384F-BAA9-926CAE73A6CC}" presName="hierChild5" presStyleCnt="0"/>
      <dgm:spPr/>
    </dgm:pt>
    <dgm:pt modelId="{93DD3EBE-683D-D148-AC4B-02C00CBC086B}" type="pres">
      <dgm:prSet presAssocID="{C18EA454-5BCE-264C-A4F5-C7EECD4D4DF9}" presName="Name23" presStyleLbl="parChTrans1D4" presStyleIdx="3" presStyleCnt="12"/>
      <dgm:spPr/>
      <dgm:t>
        <a:bodyPr/>
        <a:lstStyle/>
        <a:p>
          <a:endParaRPr lang="en-US"/>
        </a:p>
      </dgm:t>
    </dgm:pt>
    <dgm:pt modelId="{3CF7E850-D115-344D-8D69-A04077E1FF58}" type="pres">
      <dgm:prSet presAssocID="{E49E72B0-4C09-E146-BE55-236BE3FD7558}" presName="hierRoot4" presStyleCnt="0"/>
      <dgm:spPr/>
    </dgm:pt>
    <dgm:pt modelId="{279D8947-A84C-A949-908A-318E123F7C24}" type="pres">
      <dgm:prSet presAssocID="{E49E72B0-4C09-E146-BE55-236BE3FD7558}" presName="composite4" presStyleCnt="0"/>
      <dgm:spPr/>
    </dgm:pt>
    <dgm:pt modelId="{E6904EC9-0367-9841-930E-429936332EB9}" type="pres">
      <dgm:prSet presAssocID="{E49E72B0-4C09-E146-BE55-236BE3FD7558}" presName="background4" presStyleLbl="node4" presStyleIdx="3" presStyleCnt="12"/>
      <dgm:spPr/>
    </dgm:pt>
    <dgm:pt modelId="{6556AFBC-800E-7248-BCE2-35600C46870E}" type="pres">
      <dgm:prSet presAssocID="{E49E72B0-4C09-E146-BE55-236BE3FD7558}" presName="text4" presStyleLbl="fgAcc4" presStyleIdx="3" presStyleCnt="12">
        <dgm:presLayoutVars>
          <dgm:chPref val="3"/>
        </dgm:presLayoutVars>
      </dgm:prSet>
      <dgm:spPr/>
      <dgm:t>
        <a:bodyPr/>
        <a:lstStyle/>
        <a:p>
          <a:endParaRPr lang="en-US"/>
        </a:p>
      </dgm:t>
    </dgm:pt>
    <dgm:pt modelId="{85D3443E-D3E6-EF43-B606-D581C9C65832}" type="pres">
      <dgm:prSet presAssocID="{E49E72B0-4C09-E146-BE55-236BE3FD7558}" presName="hierChild5" presStyleCnt="0"/>
      <dgm:spPr/>
    </dgm:pt>
    <dgm:pt modelId="{212D4EBB-84C0-1E49-8532-28927243284C}" type="pres">
      <dgm:prSet presAssocID="{06FB42A4-3D56-BC47-AD5D-B6FA3FAADDA2}" presName="Name23" presStyleLbl="parChTrans1D4" presStyleIdx="4" presStyleCnt="12"/>
      <dgm:spPr/>
      <dgm:t>
        <a:bodyPr/>
        <a:lstStyle/>
        <a:p>
          <a:endParaRPr lang="en-US"/>
        </a:p>
      </dgm:t>
    </dgm:pt>
    <dgm:pt modelId="{9B119A6C-8AD1-D34C-98BE-7C4FCF345373}" type="pres">
      <dgm:prSet presAssocID="{76699592-2568-2B4B-AB2C-3AE4E34D645A}" presName="hierRoot4" presStyleCnt="0"/>
      <dgm:spPr/>
    </dgm:pt>
    <dgm:pt modelId="{375C7FDB-46E5-1D4E-9AEF-B6756CF25DAC}" type="pres">
      <dgm:prSet presAssocID="{76699592-2568-2B4B-AB2C-3AE4E34D645A}" presName="composite4" presStyleCnt="0"/>
      <dgm:spPr/>
    </dgm:pt>
    <dgm:pt modelId="{2F084B45-5845-A64D-80AB-1952062786E5}" type="pres">
      <dgm:prSet presAssocID="{76699592-2568-2B4B-AB2C-3AE4E34D645A}" presName="background4" presStyleLbl="node4" presStyleIdx="4" presStyleCnt="12"/>
      <dgm:spPr/>
    </dgm:pt>
    <dgm:pt modelId="{F9F44457-B715-9548-B37C-C59CFA1604B1}" type="pres">
      <dgm:prSet presAssocID="{76699592-2568-2B4B-AB2C-3AE4E34D645A}" presName="text4" presStyleLbl="fgAcc4" presStyleIdx="4" presStyleCnt="12">
        <dgm:presLayoutVars>
          <dgm:chPref val="3"/>
        </dgm:presLayoutVars>
      </dgm:prSet>
      <dgm:spPr/>
      <dgm:t>
        <a:bodyPr/>
        <a:lstStyle/>
        <a:p>
          <a:endParaRPr lang="en-US"/>
        </a:p>
      </dgm:t>
    </dgm:pt>
    <dgm:pt modelId="{D1CC8F5A-D435-8942-85AB-A6E80E5D696D}" type="pres">
      <dgm:prSet presAssocID="{76699592-2568-2B4B-AB2C-3AE4E34D645A}" presName="hierChild5" presStyleCnt="0"/>
      <dgm:spPr/>
    </dgm:pt>
    <dgm:pt modelId="{12DF2B85-0B3E-6A43-B1AD-667053AB4410}" type="pres">
      <dgm:prSet presAssocID="{34FF1737-E745-254F-8B8A-15E4E952E40E}" presName="Name23" presStyleLbl="parChTrans1D4" presStyleIdx="5" presStyleCnt="12"/>
      <dgm:spPr/>
      <dgm:t>
        <a:bodyPr/>
        <a:lstStyle/>
        <a:p>
          <a:endParaRPr lang="en-US"/>
        </a:p>
      </dgm:t>
    </dgm:pt>
    <dgm:pt modelId="{51994745-5C11-D045-AD8D-F9F4F55BA127}" type="pres">
      <dgm:prSet presAssocID="{1B2D276E-AFC0-EF45-8E5A-740B8E3CA99F}" presName="hierRoot4" presStyleCnt="0"/>
      <dgm:spPr/>
    </dgm:pt>
    <dgm:pt modelId="{59D1FAAA-1210-F645-A14D-4629E990E474}" type="pres">
      <dgm:prSet presAssocID="{1B2D276E-AFC0-EF45-8E5A-740B8E3CA99F}" presName="composite4" presStyleCnt="0"/>
      <dgm:spPr/>
    </dgm:pt>
    <dgm:pt modelId="{E37F2F3E-E54C-6748-BF95-CC3531B4337E}" type="pres">
      <dgm:prSet presAssocID="{1B2D276E-AFC0-EF45-8E5A-740B8E3CA99F}" presName="background4" presStyleLbl="node4" presStyleIdx="5" presStyleCnt="12"/>
      <dgm:spPr/>
    </dgm:pt>
    <dgm:pt modelId="{E29F8D02-CB32-6D46-8B6D-020F81C60CE6}" type="pres">
      <dgm:prSet presAssocID="{1B2D276E-AFC0-EF45-8E5A-740B8E3CA99F}" presName="text4" presStyleLbl="fgAcc4" presStyleIdx="5" presStyleCnt="12">
        <dgm:presLayoutVars>
          <dgm:chPref val="3"/>
        </dgm:presLayoutVars>
      </dgm:prSet>
      <dgm:spPr/>
      <dgm:t>
        <a:bodyPr/>
        <a:lstStyle/>
        <a:p>
          <a:endParaRPr lang="en-US"/>
        </a:p>
      </dgm:t>
    </dgm:pt>
    <dgm:pt modelId="{893BA054-0DEA-A94F-83DA-035F39A0357A}" type="pres">
      <dgm:prSet presAssocID="{1B2D276E-AFC0-EF45-8E5A-740B8E3CA99F}" presName="hierChild5" presStyleCnt="0"/>
      <dgm:spPr/>
    </dgm:pt>
    <dgm:pt modelId="{9B497AA1-03A6-5A43-AAA1-C4399ED77A09}" type="pres">
      <dgm:prSet presAssocID="{EB93668C-A453-4F49-BE0F-2718A0EA975C}" presName="Name23" presStyleLbl="parChTrans1D4" presStyleIdx="6" presStyleCnt="12"/>
      <dgm:spPr/>
      <dgm:t>
        <a:bodyPr/>
        <a:lstStyle/>
        <a:p>
          <a:endParaRPr lang="en-US"/>
        </a:p>
      </dgm:t>
    </dgm:pt>
    <dgm:pt modelId="{143A6024-6B0D-6046-9DE4-CD0FA34AD4E7}" type="pres">
      <dgm:prSet presAssocID="{719665E4-D6A8-714D-87F1-A5A4227176F5}" presName="hierRoot4" presStyleCnt="0"/>
      <dgm:spPr/>
    </dgm:pt>
    <dgm:pt modelId="{EF35EB74-B337-D34E-8C5C-6E22C957F70D}" type="pres">
      <dgm:prSet presAssocID="{719665E4-D6A8-714D-87F1-A5A4227176F5}" presName="composite4" presStyleCnt="0"/>
      <dgm:spPr/>
    </dgm:pt>
    <dgm:pt modelId="{8D80B4F5-F91C-AE49-B862-95569F623D55}" type="pres">
      <dgm:prSet presAssocID="{719665E4-D6A8-714D-87F1-A5A4227176F5}" presName="background4" presStyleLbl="node4" presStyleIdx="6" presStyleCnt="12"/>
      <dgm:spPr/>
    </dgm:pt>
    <dgm:pt modelId="{96735CAD-72E9-7D4A-AFDC-3DBB66C6A2F0}" type="pres">
      <dgm:prSet presAssocID="{719665E4-D6A8-714D-87F1-A5A4227176F5}" presName="text4" presStyleLbl="fgAcc4" presStyleIdx="6" presStyleCnt="12">
        <dgm:presLayoutVars>
          <dgm:chPref val="3"/>
        </dgm:presLayoutVars>
      </dgm:prSet>
      <dgm:spPr/>
      <dgm:t>
        <a:bodyPr/>
        <a:lstStyle/>
        <a:p>
          <a:endParaRPr lang="en-US"/>
        </a:p>
      </dgm:t>
    </dgm:pt>
    <dgm:pt modelId="{4CA08563-BE41-6846-B7AB-B67536817273}" type="pres">
      <dgm:prSet presAssocID="{719665E4-D6A8-714D-87F1-A5A4227176F5}" presName="hierChild5" presStyleCnt="0"/>
      <dgm:spPr/>
    </dgm:pt>
    <dgm:pt modelId="{A7FE001E-C3E9-0A40-B305-4D6882F7340A}" type="pres">
      <dgm:prSet presAssocID="{567AF9C9-AD0E-614D-8BEB-9D6793CAF68F}" presName="Name23" presStyleLbl="parChTrans1D4" presStyleIdx="7" presStyleCnt="12"/>
      <dgm:spPr/>
      <dgm:t>
        <a:bodyPr/>
        <a:lstStyle/>
        <a:p>
          <a:endParaRPr lang="en-US"/>
        </a:p>
      </dgm:t>
    </dgm:pt>
    <dgm:pt modelId="{7DF33519-5166-DD4C-858F-D2939DD08591}" type="pres">
      <dgm:prSet presAssocID="{6ED5E484-6C1D-D041-A811-90548DF9626A}" presName="hierRoot4" presStyleCnt="0"/>
      <dgm:spPr/>
    </dgm:pt>
    <dgm:pt modelId="{CD38074F-B1BC-4541-BF56-4D2C65A9FCBF}" type="pres">
      <dgm:prSet presAssocID="{6ED5E484-6C1D-D041-A811-90548DF9626A}" presName="composite4" presStyleCnt="0"/>
      <dgm:spPr/>
    </dgm:pt>
    <dgm:pt modelId="{8128280E-173A-4949-86F3-65B286589C9A}" type="pres">
      <dgm:prSet presAssocID="{6ED5E484-6C1D-D041-A811-90548DF9626A}" presName="background4" presStyleLbl="node4" presStyleIdx="7" presStyleCnt="12"/>
      <dgm:spPr/>
    </dgm:pt>
    <dgm:pt modelId="{0B898601-6BDD-AE43-A6A9-5D381BC1DE04}" type="pres">
      <dgm:prSet presAssocID="{6ED5E484-6C1D-D041-A811-90548DF9626A}" presName="text4" presStyleLbl="fgAcc4" presStyleIdx="7" presStyleCnt="12">
        <dgm:presLayoutVars>
          <dgm:chPref val="3"/>
        </dgm:presLayoutVars>
      </dgm:prSet>
      <dgm:spPr/>
      <dgm:t>
        <a:bodyPr/>
        <a:lstStyle/>
        <a:p>
          <a:endParaRPr lang="en-US"/>
        </a:p>
      </dgm:t>
    </dgm:pt>
    <dgm:pt modelId="{C16D9C66-E080-A645-A8D4-EC69477D5D5C}" type="pres">
      <dgm:prSet presAssocID="{6ED5E484-6C1D-D041-A811-90548DF9626A}" presName="hierChild5" presStyleCnt="0"/>
      <dgm:spPr/>
    </dgm:pt>
    <dgm:pt modelId="{5E061148-1C8A-844A-A111-794FC2BC8581}" type="pres">
      <dgm:prSet presAssocID="{6A324E71-75BE-4D4A-9E5D-6C895E7B9222}" presName="Name23" presStyleLbl="parChTrans1D4" presStyleIdx="8" presStyleCnt="12"/>
      <dgm:spPr/>
      <dgm:t>
        <a:bodyPr/>
        <a:lstStyle/>
        <a:p>
          <a:endParaRPr lang="en-US"/>
        </a:p>
      </dgm:t>
    </dgm:pt>
    <dgm:pt modelId="{838A0A3D-C082-F847-ADEC-074C71EE6434}" type="pres">
      <dgm:prSet presAssocID="{5DEAA9C4-A898-D54B-8B0A-BF2189D2FA36}" presName="hierRoot4" presStyleCnt="0"/>
      <dgm:spPr/>
    </dgm:pt>
    <dgm:pt modelId="{F2A37A3A-8140-7B47-A04A-726774F86803}" type="pres">
      <dgm:prSet presAssocID="{5DEAA9C4-A898-D54B-8B0A-BF2189D2FA36}" presName="composite4" presStyleCnt="0"/>
      <dgm:spPr/>
    </dgm:pt>
    <dgm:pt modelId="{7C2ED2A0-CE4E-764B-98C8-D7E4B3D28436}" type="pres">
      <dgm:prSet presAssocID="{5DEAA9C4-A898-D54B-8B0A-BF2189D2FA36}" presName="background4" presStyleLbl="node4" presStyleIdx="8" presStyleCnt="12"/>
      <dgm:spPr/>
    </dgm:pt>
    <dgm:pt modelId="{13E7F6D0-FA53-1944-80CA-9D6847E43F5A}" type="pres">
      <dgm:prSet presAssocID="{5DEAA9C4-A898-D54B-8B0A-BF2189D2FA36}" presName="text4" presStyleLbl="fgAcc4" presStyleIdx="8" presStyleCnt="12">
        <dgm:presLayoutVars>
          <dgm:chPref val="3"/>
        </dgm:presLayoutVars>
      </dgm:prSet>
      <dgm:spPr/>
      <dgm:t>
        <a:bodyPr/>
        <a:lstStyle/>
        <a:p>
          <a:endParaRPr lang="en-US"/>
        </a:p>
      </dgm:t>
    </dgm:pt>
    <dgm:pt modelId="{CAA2499C-A714-874E-8DFD-095C48E73409}" type="pres">
      <dgm:prSet presAssocID="{5DEAA9C4-A898-D54B-8B0A-BF2189D2FA36}" presName="hierChild5" presStyleCnt="0"/>
      <dgm:spPr/>
    </dgm:pt>
    <dgm:pt modelId="{7A02FE56-D544-224F-A18F-847CAC7A4D20}" type="pres">
      <dgm:prSet presAssocID="{F0C2078F-E5C5-A54E-A98F-4AE67A378064}" presName="Name23" presStyleLbl="parChTrans1D4" presStyleIdx="9" presStyleCnt="12"/>
      <dgm:spPr/>
      <dgm:t>
        <a:bodyPr/>
        <a:lstStyle/>
        <a:p>
          <a:endParaRPr lang="en-US"/>
        </a:p>
      </dgm:t>
    </dgm:pt>
    <dgm:pt modelId="{14733095-6A34-7241-A8D8-01C7003E40F7}" type="pres">
      <dgm:prSet presAssocID="{500DF840-9E71-294C-9C3C-6D14D95FE0B7}" presName="hierRoot4" presStyleCnt="0"/>
      <dgm:spPr/>
    </dgm:pt>
    <dgm:pt modelId="{4EC74F4C-60E8-8F4C-91EB-DF51CA36B793}" type="pres">
      <dgm:prSet presAssocID="{500DF840-9E71-294C-9C3C-6D14D95FE0B7}" presName="composite4" presStyleCnt="0"/>
      <dgm:spPr/>
    </dgm:pt>
    <dgm:pt modelId="{C0BBA504-6999-0242-A089-31DB04D6A9DC}" type="pres">
      <dgm:prSet presAssocID="{500DF840-9E71-294C-9C3C-6D14D95FE0B7}" presName="background4" presStyleLbl="node4" presStyleIdx="9" presStyleCnt="12"/>
      <dgm:spPr/>
    </dgm:pt>
    <dgm:pt modelId="{82DD6F5A-8C47-B94E-B0F4-328F4D07F3F6}" type="pres">
      <dgm:prSet presAssocID="{500DF840-9E71-294C-9C3C-6D14D95FE0B7}" presName="text4" presStyleLbl="fgAcc4" presStyleIdx="9" presStyleCnt="12">
        <dgm:presLayoutVars>
          <dgm:chPref val="3"/>
        </dgm:presLayoutVars>
      </dgm:prSet>
      <dgm:spPr/>
      <dgm:t>
        <a:bodyPr/>
        <a:lstStyle/>
        <a:p>
          <a:endParaRPr lang="en-US"/>
        </a:p>
      </dgm:t>
    </dgm:pt>
    <dgm:pt modelId="{9FD9B93B-9895-5F41-B252-7800F7704CE7}" type="pres">
      <dgm:prSet presAssocID="{500DF840-9E71-294C-9C3C-6D14D95FE0B7}" presName="hierChild5" presStyleCnt="0"/>
      <dgm:spPr/>
    </dgm:pt>
    <dgm:pt modelId="{3790E5D7-3ACB-0A42-A3B8-D8C2EDC3CD22}" type="pres">
      <dgm:prSet presAssocID="{B991B469-2361-2A43-A05E-DB80BD6E7160}" presName="Name23" presStyleLbl="parChTrans1D4" presStyleIdx="10" presStyleCnt="12"/>
      <dgm:spPr/>
      <dgm:t>
        <a:bodyPr/>
        <a:lstStyle/>
        <a:p>
          <a:endParaRPr lang="en-US"/>
        </a:p>
      </dgm:t>
    </dgm:pt>
    <dgm:pt modelId="{040680BF-250B-444F-BFB7-007FDC023062}" type="pres">
      <dgm:prSet presAssocID="{2628D688-6482-5B4C-B2AE-9A84D0C5A8B7}" presName="hierRoot4" presStyleCnt="0"/>
      <dgm:spPr/>
    </dgm:pt>
    <dgm:pt modelId="{5C801BDE-2612-034A-958F-A46C99464B6D}" type="pres">
      <dgm:prSet presAssocID="{2628D688-6482-5B4C-B2AE-9A84D0C5A8B7}" presName="composite4" presStyleCnt="0"/>
      <dgm:spPr/>
    </dgm:pt>
    <dgm:pt modelId="{BADB9149-ACE4-2746-BB80-2E7699986DCD}" type="pres">
      <dgm:prSet presAssocID="{2628D688-6482-5B4C-B2AE-9A84D0C5A8B7}" presName="background4" presStyleLbl="node4" presStyleIdx="10" presStyleCnt="12"/>
      <dgm:spPr/>
    </dgm:pt>
    <dgm:pt modelId="{18536576-2323-5247-883A-40FCAD02054B}" type="pres">
      <dgm:prSet presAssocID="{2628D688-6482-5B4C-B2AE-9A84D0C5A8B7}" presName="text4" presStyleLbl="fgAcc4" presStyleIdx="10" presStyleCnt="12">
        <dgm:presLayoutVars>
          <dgm:chPref val="3"/>
        </dgm:presLayoutVars>
      </dgm:prSet>
      <dgm:spPr/>
      <dgm:t>
        <a:bodyPr/>
        <a:lstStyle/>
        <a:p>
          <a:endParaRPr lang="en-US"/>
        </a:p>
      </dgm:t>
    </dgm:pt>
    <dgm:pt modelId="{FB95C001-032A-DE4B-8E94-36D32BCA5CD9}" type="pres">
      <dgm:prSet presAssocID="{2628D688-6482-5B4C-B2AE-9A84D0C5A8B7}" presName="hierChild5" presStyleCnt="0"/>
      <dgm:spPr/>
    </dgm:pt>
    <dgm:pt modelId="{4B57C69E-B2B3-434D-9EAF-0BADCE2147AB}" type="pres">
      <dgm:prSet presAssocID="{EE9F3B3B-35BA-334C-9972-70CDE9A8EF50}" presName="Name23" presStyleLbl="parChTrans1D4" presStyleIdx="11" presStyleCnt="12"/>
      <dgm:spPr/>
      <dgm:t>
        <a:bodyPr/>
        <a:lstStyle/>
        <a:p>
          <a:endParaRPr lang="en-US"/>
        </a:p>
      </dgm:t>
    </dgm:pt>
    <dgm:pt modelId="{3365E251-D7F6-F84F-88C4-D162D8B99263}" type="pres">
      <dgm:prSet presAssocID="{849C958E-899B-944D-9C75-A00031524494}" presName="hierRoot4" presStyleCnt="0"/>
      <dgm:spPr/>
    </dgm:pt>
    <dgm:pt modelId="{82C933FC-0E2C-9E4A-AF0E-DFDCDEE32C63}" type="pres">
      <dgm:prSet presAssocID="{849C958E-899B-944D-9C75-A00031524494}" presName="composite4" presStyleCnt="0"/>
      <dgm:spPr/>
    </dgm:pt>
    <dgm:pt modelId="{707FD993-DC1D-474C-9CDF-2024E56685BF}" type="pres">
      <dgm:prSet presAssocID="{849C958E-899B-944D-9C75-A00031524494}" presName="background4" presStyleLbl="node4" presStyleIdx="11" presStyleCnt="12"/>
      <dgm:spPr/>
    </dgm:pt>
    <dgm:pt modelId="{A26FAC72-D1BE-5547-99A8-EFAA0D51C233}" type="pres">
      <dgm:prSet presAssocID="{849C958E-899B-944D-9C75-A00031524494}" presName="text4" presStyleLbl="fgAcc4" presStyleIdx="11" presStyleCnt="12">
        <dgm:presLayoutVars>
          <dgm:chPref val="3"/>
        </dgm:presLayoutVars>
      </dgm:prSet>
      <dgm:spPr/>
      <dgm:t>
        <a:bodyPr/>
        <a:lstStyle/>
        <a:p>
          <a:endParaRPr lang="en-US"/>
        </a:p>
      </dgm:t>
    </dgm:pt>
    <dgm:pt modelId="{CDD83308-2EB5-A848-AEA6-5210A4AB6923}" type="pres">
      <dgm:prSet presAssocID="{849C958E-899B-944D-9C75-A00031524494}" presName="hierChild5" presStyleCnt="0"/>
      <dgm:spPr/>
    </dgm:pt>
    <dgm:pt modelId="{5197F8BB-2B0E-9041-A6D0-B7A812620968}" type="pres">
      <dgm:prSet presAssocID="{392B21CE-E10C-624C-8041-3374D4EF341A}" presName="Name10" presStyleLbl="parChTrans1D2" presStyleIdx="1" presStyleCnt="2"/>
      <dgm:spPr/>
      <dgm:t>
        <a:bodyPr/>
        <a:lstStyle/>
        <a:p>
          <a:endParaRPr lang="en-US"/>
        </a:p>
      </dgm:t>
    </dgm:pt>
    <dgm:pt modelId="{0F58459C-E776-3745-AE99-C343817F8162}" type="pres">
      <dgm:prSet presAssocID="{2B6F7431-B74A-D74A-96C8-4919738E3E15}" presName="hierRoot2" presStyleCnt="0"/>
      <dgm:spPr/>
    </dgm:pt>
    <dgm:pt modelId="{194F1146-11EC-4F48-A04D-A958DC247113}" type="pres">
      <dgm:prSet presAssocID="{2B6F7431-B74A-D74A-96C8-4919738E3E15}" presName="composite2" presStyleCnt="0"/>
      <dgm:spPr/>
    </dgm:pt>
    <dgm:pt modelId="{94666250-0917-7942-A92F-32F21DE90780}" type="pres">
      <dgm:prSet presAssocID="{2B6F7431-B74A-D74A-96C8-4919738E3E15}" presName="background2" presStyleLbl="node2" presStyleIdx="1" presStyleCnt="2"/>
      <dgm:spPr/>
    </dgm:pt>
    <dgm:pt modelId="{ADD5371C-E5E3-4B4C-8E46-6949F5C56386}" type="pres">
      <dgm:prSet presAssocID="{2B6F7431-B74A-D74A-96C8-4919738E3E15}" presName="text2" presStyleLbl="fgAcc2" presStyleIdx="1" presStyleCnt="2" custLinFactNeighborX="72606">
        <dgm:presLayoutVars>
          <dgm:chPref val="3"/>
        </dgm:presLayoutVars>
      </dgm:prSet>
      <dgm:spPr/>
      <dgm:t>
        <a:bodyPr/>
        <a:lstStyle/>
        <a:p>
          <a:endParaRPr lang="en-US"/>
        </a:p>
      </dgm:t>
    </dgm:pt>
    <dgm:pt modelId="{B75C695B-B5D8-B14C-A4C3-EF98880C7203}" type="pres">
      <dgm:prSet presAssocID="{2B6F7431-B74A-D74A-96C8-4919738E3E15}" presName="hierChild3" presStyleCnt="0"/>
      <dgm:spPr/>
    </dgm:pt>
    <dgm:pt modelId="{838DABBF-EC07-CB47-A5F5-02B7B29DD5E3}" type="pres">
      <dgm:prSet presAssocID="{58079D81-FE59-DF43-9167-D229C583F41F}" presName="Name17" presStyleLbl="parChTrans1D3" presStyleIdx="2" presStyleCnt="4"/>
      <dgm:spPr/>
      <dgm:t>
        <a:bodyPr/>
        <a:lstStyle/>
        <a:p>
          <a:endParaRPr lang="en-US"/>
        </a:p>
      </dgm:t>
    </dgm:pt>
    <dgm:pt modelId="{52576B14-53D7-EC47-B708-0B0088BA017E}" type="pres">
      <dgm:prSet presAssocID="{97342FE9-4C8D-564A-8A70-4640E714B40C}" presName="hierRoot3" presStyleCnt="0"/>
      <dgm:spPr/>
    </dgm:pt>
    <dgm:pt modelId="{ACAC0C84-F089-7B4F-9B52-A246581B98CA}" type="pres">
      <dgm:prSet presAssocID="{97342FE9-4C8D-564A-8A70-4640E714B40C}" presName="composite3" presStyleCnt="0"/>
      <dgm:spPr/>
    </dgm:pt>
    <dgm:pt modelId="{283F9657-8411-BA45-ADFE-7BC79F816CCA}" type="pres">
      <dgm:prSet presAssocID="{97342FE9-4C8D-564A-8A70-4640E714B40C}" presName="background3" presStyleLbl="node3" presStyleIdx="2" presStyleCnt="4"/>
      <dgm:spPr/>
    </dgm:pt>
    <dgm:pt modelId="{016658CB-EA14-FA47-BBEE-45DDB94BC1C5}" type="pres">
      <dgm:prSet presAssocID="{97342FE9-4C8D-564A-8A70-4640E714B40C}" presName="text3" presStyleLbl="fgAcc3" presStyleIdx="2" presStyleCnt="4" custLinFactNeighborX="72606">
        <dgm:presLayoutVars>
          <dgm:chPref val="3"/>
        </dgm:presLayoutVars>
      </dgm:prSet>
      <dgm:spPr/>
      <dgm:t>
        <a:bodyPr/>
        <a:lstStyle/>
        <a:p>
          <a:endParaRPr lang="en-US"/>
        </a:p>
      </dgm:t>
    </dgm:pt>
    <dgm:pt modelId="{1FEE4C7C-739E-AF43-8BC1-D72AC5828909}" type="pres">
      <dgm:prSet presAssocID="{97342FE9-4C8D-564A-8A70-4640E714B40C}" presName="hierChild4" presStyleCnt="0"/>
      <dgm:spPr/>
    </dgm:pt>
    <dgm:pt modelId="{B78B6250-CC18-0E46-995F-5DF2C1E43A04}" type="pres">
      <dgm:prSet presAssocID="{DF1113CF-5950-7042-82E1-ADFB898B6316}" presName="Name17" presStyleLbl="parChTrans1D3" presStyleIdx="3" presStyleCnt="4"/>
      <dgm:spPr/>
      <dgm:t>
        <a:bodyPr/>
        <a:lstStyle/>
        <a:p>
          <a:endParaRPr lang="en-US"/>
        </a:p>
      </dgm:t>
    </dgm:pt>
    <dgm:pt modelId="{BC9FE176-4224-AD4D-9BB0-43EAA6229FE0}" type="pres">
      <dgm:prSet presAssocID="{9FE0D077-D53A-AD4D-93A6-1744C34D9ABC}" presName="hierRoot3" presStyleCnt="0"/>
      <dgm:spPr/>
    </dgm:pt>
    <dgm:pt modelId="{5C71BE75-B964-514F-81B1-CDD7350244EB}" type="pres">
      <dgm:prSet presAssocID="{9FE0D077-D53A-AD4D-93A6-1744C34D9ABC}" presName="composite3" presStyleCnt="0"/>
      <dgm:spPr/>
    </dgm:pt>
    <dgm:pt modelId="{70D8FBF9-E63B-5844-8706-1BD276D9BF05}" type="pres">
      <dgm:prSet presAssocID="{9FE0D077-D53A-AD4D-93A6-1744C34D9ABC}" presName="background3" presStyleLbl="node3" presStyleIdx="3" presStyleCnt="4"/>
      <dgm:spPr/>
    </dgm:pt>
    <dgm:pt modelId="{7EDF1005-6EB9-E64A-B9C4-399B67FD1BC4}" type="pres">
      <dgm:prSet presAssocID="{9FE0D077-D53A-AD4D-93A6-1744C34D9ABC}" presName="text3" presStyleLbl="fgAcc3" presStyleIdx="3" presStyleCnt="4" custLinFactNeighborX="72606">
        <dgm:presLayoutVars>
          <dgm:chPref val="3"/>
        </dgm:presLayoutVars>
      </dgm:prSet>
      <dgm:spPr/>
      <dgm:t>
        <a:bodyPr/>
        <a:lstStyle/>
        <a:p>
          <a:endParaRPr lang="en-US"/>
        </a:p>
      </dgm:t>
    </dgm:pt>
    <dgm:pt modelId="{E8C2E344-360D-904C-A31E-039E094E311A}" type="pres">
      <dgm:prSet presAssocID="{9FE0D077-D53A-AD4D-93A6-1744C34D9ABC}" presName="hierChild4" presStyleCnt="0"/>
      <dgm:spPr/>
    </dgm:pt>
  </dgm:ptLst>
  <dgm:cxnLst>
    <dgm:cxn modelId="{803BA180-1969-CC47-A530-7099BC68237A}" type="presOf" srcId="{58079D81-FE59-DF43-9167-D229C583F41F}" destId="{838DABBF-EC07-CB47-A5F5-02B7B29DD5E3}" srcOrd="0" destOrd="0" presId="urn:microsoft.com/office/officeart/2005/8/layout/hierarchy1"/>
    <dgm:cxn modelId="{FBB680EB-AE13-6347-AA92-306F5A96025C}" type="presOf" srcId="{E49E72B0-4C09-E146-BE55-236BE3FD7558}" destId="{6556AFBC-800E-7248-BCE2-35600C46870E}" srcOrd="0" destOrd="0" presId="urn:microsoft.com/office/officeart/2005/8/layout/hierarchy1"/>
    <dgm:cxn modelId="{CC70AE3F-0FA6-3C46-BEDF-56CA7DFEAF2E}" srcId="{1498A202-66FB-9A4B-93B7-D4527E42D9B7}" destId="{1917B703-E599-8C46-868F-09D21896499E}" srcOrd="0" destOrd="0" parTransId="{B925963E-E5F5-4F46-9CAD-F3BC7ED2B54E}" sibTransId="{E3556558-C3DA-1148-885D-B6F79443A275}"/>
    <dgm:cxn modelId="{CB565129-3DAD-4B41-9560-0F3B2C352745}" srcId="{69486998-604A-A242-8DE0-D54BBC86174D}" destId="{8C3A69CA-8BF0-3C47-8EBA-9B82176F5561}" srcOrd="0" destOrd="0" parTransId="{8BD32280-013E-C548-8FBA-FED9D145BBB9}" sibTransId="{9A0D0E2E-AAD4-014E-A10C-0C99DCAC4187}"/>
    <dgm:cxn modelId="{0D4624D4-E415-5E44-AB59-5853BE23BDB1}" type="presOf" srcId="{EE9F3B3B-35BA-334C-9972-70CDE9A8EF50}" destId="{4B57C69E-B2B3-434D-9EAF-0BADCE2147AB}" srcOrd="0" destOrd="0" presId="urn:microsoft.com/office/officeart/2005/8/layout/hierarchy1"/>
    <dgm:cxn modelId="{6739A82B-CE6C-BC43-AA7A-844CDC7B6FEF}" type="presOf" srcId="{5DEAA9C4-A898-D54B-8B0A-BF2189D2FA36}" destId="{13E7F6D0-FA53-1944-80CA-9D6847E43F5A}" srcOrd="0" destOrd="0" presId="urn:microsoft.com/office/officeart/2005/8/layout/hierarchy1"/>
    <dgm:cxn modelId="{77CEB1B2-0BC6-F34E-9E53-A08C89084715}" type="presOf" srcId="{8C3A69CA-8BF0-3C47-8EBA-9B82176F5561}" destId="{DE716B40-110C-7448-A2D5-CA37EA171223}" srcOrd="0" destOrd="0" presId="urn:microsoft.com/office/officeart/2005/8/layout/hierarchy1"/>
    <dgm:cxn modelId="{821C7A82-FB54-7C48-B959-C53D8F57AEC1}" srcId="{2B6F7431-B74A-D74A-96C8-4919738E3E15}" destId="{97342FE9-4C8D-564A-8A70-4640E714B40C}" srcOrd="0" destOrd="0" parTransId="{58079D81-FE59-DF43-9167-D229C583F41F}" sibTransId="{2CD4A840-377E-0946-9F88-227B3C0C9D32}"/>
    <dgm:cxn modelId="{36D98B9B-F31B-2746-8066-53D89051B520}" type="presOf" srcId="{2628D688-6482-5B4C-B2AE-9A84D0C5A8B7}" destId="{18536576-2323-5247-883A-40FCAD02054B}" srcOrd="0" destOrd="0" presId="urn:microsoft.com/office/officeart/2005/8/layout/hierarchy1"/>
    <dgm:cxn modelId="{65E671C7-8FC2-F94A-96B9-D3C1B0C725DC}" type="presOf" srcId="{1B2D276E-AFC0-EF45-8E5A-740B8E3CA99F}" destId="{E29F8D02-CB32-6D46-8B6D-020F81C60CE6}" srcOrd="0" destOrd="0" presId="urn:microsoft.com/office/officeart/2005/8/layout/hierarchy1"/>
    <dgm:cxn modelId="{2DC9FB99-1EDE-634E-A67F-A2282BC5577D}" type="presOf" srcId="{1917B703-E599-8C46-868F-09D21896499E}" destId="{38870230-33BD-DC4F-A768-0B722E8F5B52}" srcOrd="0" destOrd="0" presId="urn:microsoft.com/office/officeart/2005/8/layout/hierarchy1"/>
    <dgm:cxn modelId="{077EEBFA-FEDD-0A4F-9993-7779F93D1054}" type="presOf" srcId="{1498A202-66FB-9A4B-93B7-D4527E42D9B7}" destId="{A53DDEA5-F425-3446-8EDE-FCF66971D0F9}" srcOrd="0" destOrd="0" presId="urn:microsoft.com/office/officeart/2005/8/layout/hierarchy1"/>
    <dgm:cxn modelId="{C080C157-84DF-014A-A936-45A65F3D3773}" srcId="{5DEAA9C4-A898-D54B-8B0A-BF2189D2FA36}" destId="{849C958E-899B-944D-9C75-A00031524494}" srcOrd="2" destOrd="0" parTransId="{EE9F3B3B-35BA-334C-9972-70CDE9A8EF50}" sibTransId="{4EF9B1C6-A38E-624D-8226-3B7998818B47}"/>
    <dgm:cxn modelId="{317936D8-030A-074D-B3A6-12BE72F73200}" srcId="{1498A202-66FB-9A4B-93B7-D4527E42D9B7}" destId="{E01164B5-18D7-6F44-93E2-B247170E4AEE}" srcOrd="1" destOrd="0" parTransId="{D0F416AF-0F01-F340-8CE3-61B63C7375BE}" sibTransId="{433670DA-98D9-E349-83A5-81FBD0F38C08}"/>
    <dgm:cxn modelId="{FBF492CC-71A3-9041-B22E-57CBCF6EFD80}" type="presOf" srcId="{567AF9C9-AD0E-614D-8BEB-9D6793CAF68F}" destId="{A7FE001E-C3E9-0A40-B305-4D6882F7340A}" srcOrd="0" destOrd="0" presId="urn:microsoft.com/office/officeart/2005/8/layout/hierarchy1"/>
    <dgm:cxn modelId="{5FBBB5C6-901C-E04A-9221-5BC5080429B7}" srcId="{5DEAA9C4-A898-D54B-8B0A-BF2189D2FA36}" destId="{500DF840-9E71-294C-9C3C-6D14D95FE0B7}" srcOrd="0" destOrd="0" parTransId="{F0C2078F-E5C5-A54E-A98F-4AE67A378064}" sibTransId="{03264B54-A838-3F4A-A1DC-2D1942AE2B01}"/>
    <dgm:cxn modelId="{75EF84BD-F25A-CC4C-991A-401F569E493A}" type="presOf" srcId="{9FE0D077-D53A-AD4D-93A6-1744C34D9ABC}" destId="{7EDF1005-6EB9-E64A-B9C4-399B67FD1BC4}" srcOrd="0" destOrd="0" presId="urn:microsoft.com/office/officeart/2005/8/layout/hierarchy1"/>
    <dgm:cxn modelId="{ED27F735-0B63-7348-9E94-DC793FF5EB40}" type="presOf" srcId="{E01164B5-18D7-6F44-93E2-B247170E4AEE}" destId="{069C031B-A432-E04B-8A50-3B732AF1A6BE}" srcOrd="0" destOrd="0" presId="urn:microsoft.com/office/officeart/2005/8/layout/hierarchy1"/>
    <dgm:cxn modelId="{BDA7A12E-F66E-E747-BCDA-B7B404053A64}" srcId="{719665E4-D6A8-714D-87F1-A5A4227176F5}" destId="{5DEAA9C4-A898-D54B-8B0A-BF2189D2FA36}" srcOrd="1" destOrd="0" parTransId="{6A324E71-75BE-4D4A-9E5D-6C895E7B9222}" sibTransId="{6F081455-7FE1-A24A-AD45-D98A232417C5}"/>
    <dgm:cxn modelId="{FB2F33EA-D0E1-444C-84A3-AAFC5F727496}" srcId="{E01164B5-18D7-6F44-93E2-B247170E4AEE}" destId="{69486998-604A-A242-8DE0-D54BBC86174D}" srcOrd="0" destOrd="0" parTransId="{E8F5227D-C65E-9046-8280-583FE4F0087B}" sibTransId="{356823B1-618B-B04B-96EE-F67CED11C59C}"/>
    <dgm:cxn modelId="{679D4074-CF29-8E43-8309-4CDD2206951A}" type="presOf" srcId="{392B21CE-E10C-624C-8041-3374D4EF341A}" destId="{5197F8BB-2B0E-9041-A6D0-B7A812620968}" srcOrd="0" destOrd="0" presId="urn:microsoft.com/office/officeart/2005/8/layout/hierarchy1"/>
    <dgm:cxn modelId="{7C20CA4E-74A6-AD4C-BE51-64FB488577BF}" type="presOf" srcId="{500DF840-9E71-294C-9C3C-6D14D95FE0B7}" destId="{82DD6F5A-8C47-B94E-B0F4-328F4D07F3F6}" srcOrd="0" destOrd="0" presId="urn:microsoft.com/office/officeart/2005/8/layout/hierarchy1"/>
    <dgm:cxn modelId="{F1AFE36E-1537-BB4B-86D6-C2A2F6F6C0E4}" srcId="{F5F6FB48-7B10-ED40-81D2-3932419EEDBC}" destId="{5626352F-D3AB-DF4E-AA09-8994D437BF80}" srcOrd="0" destOrd="0" parTransId="{E5843E20-1272-0946-8553-39141E3E97B9}" sibTransId="{3EDA65A3-DA60-D544-8DCC-82C944DB496C}"/>
    <dgm:cxn modelId="{6B23F415-A7D2-0D44-BE6C-753C1064D132}" type="presOf" srcId="{8BD32280-013E-C548-8FBA-FED9D145BBB9}" destId="{4CC94D77-376C-664B-B617-E9DD7A4E7B1F}" srcOrd="0" destOrd="0" presId="urn:microsoft.com/office/officeart/2005/8/layout/hierarchy1"/>
    <dgm:cxn modelId="{30A13435-CE0C-EA40-AE94-B2A8BF841CDD}" type="presOf" srcId="{06FB42A4-3D56-BC47-AD5D-B6FA3FAADDA2}" destId="{212D4EBB-84C0-1E49-8532-28927243284C}" srcOrd="0" destOrd="0" presId="urn:microsoft.com/office/officeart/2005/8/layout/hierarchy1"/>
    <dgm:cxn modelId="{D9AB9DF9-3944-264D-9BF0-9B63F3637421}" type="presOf" srcId="{EB93668C-A453-4F49-BE0F-2718A0EA975C}" destId="{9B497AA1-03A6-5A43-AAA1-C4399ED77A09}" srcOrd="0" destOrd="0" presId="urn:microsoft.com/office/officeart/2005/8/layout/hierarchy1"/>
    <dgm:cxn modelId="{45C02F5B-ECA0-5F46-87F8-B9D35F350409}" srcId="{8C3A69CA-8BF0-3C47-8EBA-9B82176F5561}" destId="{E49E72B0-4C09-E146-BE55-236BE3FD7558}" srcOrd="1" destOrd="0" parTransId="{C18EA454-5BCE-264C-A4F5-C7EECD4D4DF9}" sibTransId="{6A366208-E37C-2E45-8EE1-E0287C0F0A10}"/>
    <dgm:cxn modelId="{61DB0810-86E8-5746-BC4A-519896DA76F1}" srcId="{E01164B5-18D7-6F44-93E2-B247170E4AEE}" destId="{719665E4-D6A8-714D-87F1-A5A4227176F5}" srcOrd="1" destOrd="0" parTransId="{EB93668C-A453-4F49-BE0F-2718A0EA975C}" sibTransId="{BE671BDE-558B-5B4E-98CE-03C07791EF38}"/>
    <dgm:cxn modelId="{4ED4601F-0511-124A-8ABC-733F08A364FE}" type="presOf" srcId="{719665E4-D6A8-714D-87F1-A5A4227176F5}" destId="{96735CAD-72E9-7D4A-AFDC-3DBB66C6A2F0}" srcOrd="0" destOrd="0" presId="urn:microsoft.com/office/officeart/2005/8/layout/hierarchy1"/>
    <dgm:cxn modelId="{C160AD99-90C6-D249-8C4B-CCAD681AA77F}" type="presOf" srcId="{36161EBF-2161-DF46-9381-A9B9240D05BB}" destId="{B73B3C84-FD93-4E4C-B24B-7C32700A2744}" srcOrd="0" destOrd="0" presId="urn:microsoft.com/office/officeart/2005/8/layout/hierarchy1"/>
    <dgm:cxn modelId="{4E9D44C8-7B9F-3F4F-A0F1-B8544BE64F00}" srcId="{69486998-604A-A242-8DE0-D54BBC86174D}" destId="{1B2D276E-AFC0-EF45-8E5A-740B8E3CA99F}" srcOrd="1" destOrd="0" parTransId="{34FF1737-E745-254F-8B8A-15E4E952E40E}" sibTransId="{DF1B9436-88BA-9B48-B4E0-799766AE0E39}"/>
    <dgm:cxn modelId="{571DD441-1CBC-3848-85B4-54FD8D4B0AE6}" srcId="{8C3A69CA-8BF0-3C47-8EBA-9B82176F5561}" destId="{76699592-2568-2B4B-AB2C-3AE4E34D645A}" srcOrd="2" destOrd="0" parTransId="{06FB42A4-3D56-BC47-AD5D-B6FA3FAADDA2}" sibTransId="{B79D64A2-3CD0-9C40-A013-A4AAD40BA12F}"/>
    <dgm:cxn modelId="{F1C54660-21A6-B84A-B146-A9BBD915928F}" srcId="{5DEAA9C4-A898-D54B-8B0A-BF2189D2FA36}" destId="{2628D688-6482-5B4C-B2AE-9A84D0C5A8B7}" srcOrd="1" destOrd="0" parTransId="{B991B469-2361-2A43-A05E-DB80BD6E7160}" sibTransId="{D15A4FC7-EDB8-DF4A-97EC-78E091CFF4A1}"/>
    <dgm:cxn modelId="{288D3CE5-CB4D-DF43-B437-1FAE5F92B2F1}" type="presOf" srcId="{099D5480-8234-A945-BE6D-10297A309EB4}" destId="{7753DE0D-DEFD-BE46-B86B-A16CEA7A5DF4}" srcOrd="0" destOrd="0" presId="urn:microsoft.com/office/officeart/2005/8/layout/hierarchy1"/>
    <dgm:cxn modelId="{6FF4E60E-4BA2-6D44-B1D2-41A5D5C73536}" srcId="{5626352F-D3AB-DF4E-AA09-8994D437BF80}" destId="{2B6F7431-B74A-D74A-96C8-4919738E3E15}" srcOrd="1" destOrd="0" parTransId="{392B21CE-E10C-624C-8041-3374D4EF341A}" sibTransId="{F86E7394-8BDC-3547-9268-934044BFCF36}"/>
    <dgm:cxn modelId="{C4C02909-81E1-2D4F-B042-BAA3AA3CD5E4}" type="presOf" srcId="{D0F416AF-0F01-F340-8CE3-61B63C7375BE}" destId="{D332FBA9-AE39-004F-9412-F8F017508D56}" srcOrd="0" destOrd="0" presId="urn:microsoft.com/office/officeart/2005/8/layout/hierarchy1"/>
    <dgm:cxn modelId="{2296AD48-37AD-1046-B420-D0678A1D11AD}" type="presOf" srcId="{69486998-604A-A242-8DE0-D54BBC86174D}" destId="{15707D6B-51BE-9945-811B-2813CC24F399}" srcOrd="0" destOrd="0" presId="urn:microsoft.com/office/officeart/2005/8/layout/hierarchy1"/>
    <dgm:cxn modelId="{2ECC99AC-F80A-D940-95C9-32B831FE5FE9}" type="presOf" srcId="{6A324E71-75BE-4D4A-9E5D-6C895E7B9222}" destId="{5E061148-1C8A-844A-A111-794FC2BC8581}" srcOrd="0" destOrd="0" presId="urn:microsoft.com/office/officeart/2005/8/layout/hierarchy1"/>
    <dgm:cxn modelId="{08DB5D33-57C4-AE46-9E68-275BE2EDA8EA}" type="presOf" srcId="{F0C2078F-E5C5-A54E-A98F-4AE67A378064}" destId="{7A02FE56-D544-224F-A18F-847CAC7A4D20}" srcOrd="0" destOrd="0" presId="urn:microsoft.com/office/officeart/2005/8/layout/hierarchy1"/>
    <dgm:cxn modelId="{1215A33B-6385-9A4C-8441-43ED6C728E05}" type="presOf" srcId="{C18EA454-5BCE-264C-A4F5-C7EECD4D4DF9}" destId="{93DD3EBE-683D-D148-AC4B-02C00CBC086B}" srcOrd="0" destOrd="0" presId="urn:microsoft.com/office/officeart/2005/8/layout/hierarchy1"/>
    <dgm:cxn modelId="{4BBED08C-75C3-CE46-85EA-B21081805763}" srcId="{719665E4-D6A8-714D-87F1-A5A4227176F5}" destId="{6ED5E484-6C1D-D041-A811-90548DF9626A}" srcOrd="0" destOrd="0" parTransId="{567AF9C9-AD0E-614D-8BEB-9D6793CAF68F}" sibTransId="{C3924D5A-C9F2-7941-8860-C27DF6502E50}"/>
    <dgm:cxn modelId="{0242689B-686B-E449-96D6-A6709EF4D983}" type="presOf" srcId="{E8F5227D-C65E-9046-8280-583FE4F0087B}" destId="{5B891F52-CC19-764F-AAB9-7ACED231CE3C}" srcOrd="0" destOrd="0" presId="urn:microsoft.com/office/officeart/2005/8/layout/hierarchy1"/>
    <dgm:cxn modelId="{B869CC9E-7657-3E43-B40D-CA8DFC9379D5}" type="presOf" srcId="{76699592-2568-2B4B-AB2C-3AE4E34D645A}" destId="{F9F44457-B715-9548-B37C-C59CFA1604B1}" srcOrd="0" destOrd="0" presId="urn:microsoft.com/office/officeart/2005/8/layout/hierarchy1"/>
    <dgm:cxn modelId="{8AFC839A-536C-0249-98F8-14269737B806}" type="presOf" srcId="{34FF1737-E745-254F-8B8A-15E4E952E40E}" destId="{12DF2B85-0B3E-6A43-B1AD-667053AB4410}" srcOrd="0" destOrd="0" presId="urn:microsoft.com/office/officeart/2005/8/layout/hierarchy1"/>
    <dgm:cxn modelId="{7CF1BCFB-DBC4-A046-B46D-5927787223E1}" type="presOf" srcId="{849C958E-899B-944D-9C75-A00031524494}" destId="{A26FAC72-D1BE-5547-99A8-EFAA0D51C233}" srcOrd="0" destOrd="0" presId="urn:microsoft.com/office/officeart/2005/8/layout/hierarchy1"/>
    <dgm:cxn modelId="{E05DC1C7-FE8D-224B-A47A-89C37252C44B}" type="presOf" srcId="{6ED5E484-6C1D-D041-A811-90548DF9626A}" destId="{0B898601-6BDD-AE43-A6A9-5D381BC1DE04}" srcOrd="0" destOrd="0" presId="urn:microsoft.com/office/officeart/2005/8/layout/hierarchy1"/>
    <dgm:cxn modelId="{55436BBA-6E31-7049-9B86-E1BC06B73F01}" srcId="{5626352F-D3AB-DF4E-AA09-8994D437BF80}" destId="{1498A202-66FB-9A4B-93B7-D4527E42D9B7}" srcOrd="0" destOrd="0" parTransId="{099D5480-8234-A945-BE6D-10297A309EB4}" sibTransId="{CC1EDF5C-BECA-3742-97A9-BC64496CC58C}"/>
    <dgm:cxn modelId="{C9BF97F4-77BA-9245-89B9-785139B4EDF5}" type="presOf" srcId="{B925963E-E5F5-4F46-9CAD-F3BC7ED2B54E}" destId="{1083B41E-2B5A-1F48-9CB4-2224C3C89A53}" srcOrd="0" destOrd="0" presId="urn:microsoft.com/office/officeart/2005/8/layout/hierarchy1"/>
    <dgm:cxn modelId="{11327A02-0B0D-CA4A-AFF8-34DAD34A0271}" srcId="{2B6F7431-B74A-D74A-96C8-4919738E3E15}" destId="{9FE0D077-D53A-AD4D-93A6-1744C34D9ABC}" srcOrd="1" destOrd="0" parTransId="{DF1113CF-5950-7042-82E1-ADFB898B6316}" sibTransId="{19B3C12B-097A-1044-B7F6-C8997265FBAA}"/>
    <dgm:cxn modelId="{52020CB1-0BE5-6748-ACDD-96DE29E13AD2}" type="presOf" srcId="{2B6F7431-B74A-D74A-96C8-4919738E3E15}" destId="{ADD5371C-E5E3-4B4C-8E46-6949F5C56386}" srcOrd="0" destOrd="0" presId="urn:microsoft.com/office/officeart/2005/8/layout/hierarchy1"/>
    <dgm:cxn modelId="{0B8C49A0-B27F-6E40-A07E-9213EE5F48A8}" srcId="{8C3A69CA-8BF0-3C47-8EBA-9B82176F5561}" destId="{FD5FDC49-1587-384F-BAA9-926CAE73A6CC}" srcOrd="0" destOrd="0" parTransId="{36161EBF-2161-DF46-9381-A9B9240D05BB}" sibTransId="{F6AC1B4C-8CA8-B74E-A3D5-1A8AA3B78BC3}"/>
    <dgm:cxn modelId="{A04CDD8F-48CD-1D4A-A75D-B20492258D64}" type="presOf" srcId="{5626352F-D3AB-DF4E-AA09-8994D437BF80}" destId="{B5031592-DE8B-564A-92B2-E56F91AA9611}" srcOrd="0" destOrd="0" presId="urn:microsoft.com/office/officeart/2005/8/layout/hierarchy1"/>
    <dgm:cxn modelId="{6EB81B86-7A6D-F842-94C3-4F321412231D}" type="presOf" srcId="{FD5FDC49-1587-384F-BAA9-926CAE73A6CC}" destId="{32AE5C9D-2F01-7A4F-865D-708C3E717BBC}" srcOrd="0" destOrd="0" presId="urn:microsoft.com/office/officeart/2005/8/layout/hierarchy1"/>
    <dgm:cxn modelId="{62005A92-9F37-8244-97E3-B7DCD3DB9236}" type="presOf" srcId="{97342FE9-4C8D-564A-8A70-4640E714B40C}" destId="{016658CB-EA14-FA47-BBEE-45DDB94BC1C5}" srcOrd="0" destOrd="0" presId="urn:microsoft.com/office/officeart/2005/8/layout/hierarchy1"/>
    <dgm:cxn modelId="{359336DB-390F-8646-9C7C-9B463A15F90B}" type="presOf" srcId="{DF1113CF-5950-7042-82E1-ADFB898B6316}" destId="{B78B6250-CC18-0E46-995F-5DF2C1E43A04}" srcOrd="0" destOrd="0" presId="urn:microsoft.com/office/officeart/2005/8/layout/hierarchy1"/>
    <dgm:cxn modelId="{157E97F3-A4FB-5445-A8C9-23D8B0469C85}" type="presOf" srcId="{B991B469-2361-2A43-A05E-DB80BD6E7160}" destId="{3790E5D7-3ACB-0A42-A3B8-D8C2EDC3CD22}" srcOrd="0" destOrd="0" presId="urn:microsoft.com/office/officeart/2005/8/layout/hierarchy1"/>
    <dgm:cxn modelId="{BF954262-D204-5E44-B7C0-D5A029170C28}" type="presOf" srcId="{F5F6FB48-7B10-ED40-81D2-3932419EEDBC}" destId="{F85FBB7C-B1D1-1C42-8F20-B11247F08C98}" srcOrd="0" destOrd="0" presId="urn:microsoft.com/office/officeart/2005/8/layout/hierarchy1"/>
    <dgm:cxn modelId="{5684B8E5-355F-914A-9D89-BD11E0488FD2}" type="presParOf" srcId="{F85FBB7C-B1D1-1C42-8F20-B11247F08C98}" destId="{902CA791-1C58-734C-B5D7-6108C41E80A8}" srcOrd="0" destOrd="0" presId="urn:microsoft.com/office/officeart/2005/8/layout/hierarchy1"/>
    <dgm:cxn modelId="{149E3E1D-0379-DD47-9E42-DAC47D2D5E3F}" type="presParOf" srcId="{902CA791-1C58-734C-B5D7-6108C41E80A8}" destId="{BBF9251B-84E2-4541-92B8-7E947C50D700}" srcOrd="0" destOrd="0" presId="urn:microsoft.com/office/officeart/2005/8/layout/hierarchy1"/>
    <dgm:cxn modelId="{F9F1FC86-B742-5741-9F6A-027B1B50F5D5}" type="presParOf" srcId="{BBF9251B-84E2-4541-92B8-7E947C50D700}" destId="{74439E30-1CA4-564F-A1C2-36FE9AA485D0}" srcOrd="0" destOrd="0" presId="urn:microsoft.com/office/officeart/2005/8/layout/hierarchy1"/>
    <dgm:cxn modelId="{0EAB0791-23F6-BF4B-8F51-195F196B571E}" type="presParOf" srcId="{BBF9251B-84E2-4541-92B8-7E947C50D700}" destId="{B5031592-DE8B-564A-92B2-E56F91AA9611}" srcOrd="1" destOrd="0" presId="urn:microsoft.com/office/officeart/2005/8/layout/hierarchy1"/>
    <dgm:cxn modelId="{7F941167-D63B-1D42-BB3C-12B3BB3E8D01}" type="presParOf" srcId="{902CA791-1C58-734C-B5D7-6108C41E80A8}" destId="{6270910C-4C7E-F84B-81F7-C94BC7E95F11}" srcOrd="1" destOrd="0" presId="urn:microsoft.com/office/officeart/2005/8/layout/hierarchy1"/>
    <dgm:cxn modelId="{E61A50C9-6A8F-BD43-9A7C-72DC85A4BE1D}" type="presParOf" srcId="{6270910C-4C7E-F84B-81F7-C94BC7E95F11}" destId="{7753DE0D-DEFD-BE46-B86B-A16CEA7A5DF4}" srcOrd="0" destOrd="0" presId="urn:microsoft.com/office/officeart/2005/8/layout/hierarchy1"/>
    <dgm:cxn modelId="{4E2373D2-E1BA-E24A-9CB7-BA6DBDFF3504}" type="presParOf" srcId="{6270910C-4C7E-F84B-81F7-C94BC7E95F11}" destId="{2D2C7724-F5EF-7243-9970-0E29C72F1E70}" srcOrd="1" destOrd="0" presId="urn:microsoft.com/office/officeart/2005/8/layout/hierarchy1"/>
    <dgm:cxn modelId="{1CDB6A92-82BF-BF4D-B538-CE41C6B59779}" type="presParOf" srcId="{2D2C7724-F5EF-7243-9970-0E29C72F1E70}" destId="{290694AF-2643-BA40-A543-DBB72FFCB47E}" srcOrd="0" destOrd="0" presId="urn:microsoft.com/office/officeart/2005/8/layout/hierarchy1"/>
    <dgm:cxn modelId="{A4168C95-3174-5340-8BE0-5E3DD1C07C66}" type="presParOf" srcId="{290694AF-2643-BA40-A543-DBB72FFCB47E}" destId="{3867FE00-65C5-0640-9651-6CDF12167571}" srcOrd="0" destOrd="0" presId="urn:microsoft.com/office/officeart/2005/8/layout/hierarchy1"/>
    <dgm:cxn modelId="{53681914-8A7A-E24E-950B-008561EE0898}" type="presParOf" srcId="{290694AF-2643-BA40-A543-DBB72FFCB47E}" destId="{A53DDEA5-F425-3446-8EDE-FCF66971D0F9}" srcOrd="1" destOrd="0" presId="urn:microsoft.com/office/officeart/2005/8/layout/hierarchy1"/>
    <dgm:cxn modelId="{9D555668-68E1-0E4B-AAC6-768E000523A1}" type="presParOf" srcId="{2D2C7724-F5EF-7243-9970-0E29C72F1E70}" destId="{AEDB2881-E098-BB40-B423-8217791167BC}" srcOrd="1" destOrd="0" presId="urn:microsoft.com/office/officeart/2005/8/layout/hierarchy1"/>
    <dgm:cxn modelId="{AC5818BF-EE77-1E47-888D-564A3334893C}" type="presParOf" srcId="{AEDB2881-E098-BB40-B423-8217791167BC}" destId="{1083B41E-2B5A-1F48-9CB4-2224C3C89A53}" srcOrd="0" destOrd="0" presId="urn:microsoft.com/office/officeart/2005/8/layout/hierarchy1"/>
    <dgm:cxn modelId="{B444FDF0-5B52-3E46-BCF9-B1FA4DA0575E}" type="presParOf" srcId="{AEDB2881-E098-BB40-B423-8217791167BC}" destId="{45F86BE2-E028-F14E-9159-619240FC69A2}" srcOrd="1" destOrd="0" presId="urn:microsoft.com/office/officeart/2005/8/layout/hierarchy1"/>
    <dgm:cxn modelId="{E189B757-678D-2A4A-B59C-E0E7B6C13D79}" type="presParOf" srcId="{45F86BE2-E028-F14E-9159-619240FC69A2}" destId="{C39E52F6-7BC6-0442-94C4-45577E04296D}" srcOrd="0" destOrd="0" presId="urn:microsoft.com/office/officeart/2005/8/layout/hierarchy1"/>
    <dgm:cxn modelId="{DEC99C66-489F-554E-9B16-B646D81A368A}" type="presParOf" srcId="{C39E52F6-7BC6-0442-94C4-45577E04296D}" destId="{503EBDB7-A1DF-2546-998C-6EC85E54F0D4}" srcOrd="0" destOrd="0" presId="urn:microsoft.com/office/officeart/2005/8/layout/hierarchy1"/>
    <dgm:cxn modelId="{FADFFF73-A8E8-B14F-8D67-CA54E15F8F62}" type="presParOf" srcId="{C39E52F6-7BC6-0442-94C4-45577E04296D}" destId="{38870230-33BD-DC4F-A768-0B722E8F5B52}" srcOrd="1" destOrd="0" presId="urn:microsoft.com/office/officeart/2005/8/layout/hierarchy1"/>
    <dgm:cxn modelId="{7415D672-BDEA-494C-9F24-CAA350F270A0}" type="presParOf" srcId="{45F86BE2-E028-F14E-9159-619240FC69A2}" destId="{8A29507C-930C-E441-BCE7-A5C9A191681B}" srcOrd="1" destOrd="0" presId="urn:microsoft.com/office/officeart/2005/8/layout/hierarchy1"/>
    <dgm:cxn modelId="{4B745B8E-D4F4-0149-9955-9B4422D2A785}" type="presParOf" srcId="{AEDB2881-E098-BB40-B423-8217791167BC}" destId="{D332FBA9-AE39-004F-9412-F8F017508D56}" srcOrd="2" destOrd="0" presId="urn:microsoft.com/office/officeart/2005/8/layout/hierarchy1"/>
    <dgm:cxn modelId="{E8A9B3E1-B31E-6A4C-8426-309A1632205D}" type="presParOf" srcId="{AEDB2881-E098-BB40-B423-8217791167BC}" destId="{7824B58E-0638-0640-96C4-58CE358A3B6A}" srcOrd="3" destOrd="0" presId="urn:microsoft.com/office/officeart/2005/8/layout/hierarchy1"/>
    <dgm:cxn modelId="{0DBFF482-DF4B-9942-9747-C0A8D4AA7437}" type="presParOf" srcId="{7824B58E-0638-0640-96C4-58CE358A3B6A}" destId="{7C8FBA23-53E9-4841-97EF-07C9DF272816}" srcOrd="0" destOrd="0" presId="urn:microsoft.com/office/officeart/2005/8/layout/hierarchy1"/>
    <dgm:cxn modelId="{0C715582-150E-7B40-B796-86F01777C1B5}" type="presParOf" srcId="{7C8FBA23-53E9-4841-97EF-07C9DF272816}" destId="{47209852-F2C8-CB4C-9E0C-0F3372FBFC44}" srcOrd="0" destOrd="0" presId="urn:microsoft.com/office/officeart/2005/8/layout/hierarchy1"/>
    <dgm:cxn modelId="{F24844E5-C823-7B4C-BCDD-335CCB95A0FA}" type="presParOf" srcId="{7C8FBA23-53E9-4841-97EF-07C9DF272816}" destId="{069C031B-A432-E04B-8A50-3B732AF1A6BE}" srcOrd="1" destOrd="0" presId="urn:microsoft.com/office/officeart/2005/8/layout/hierarchy1"/>
    <dgm:cxn modelId="{ECA69F15-BE4C-3244-850E-0631CB67595E}" type="presParOf" srcId="{7824B58E-0638-0640-96C4-58CE358A3B6A}" destId="{89EB0A1B-2EE1-324A-BAF6-B3FD90EB11BB}" srcOrd="1" destOrd="0" presId="urn:microsoft.com/office/officeart/2005/8/layout/hierarchy1"/>
    <dgm:cxn modelId="{FDE63EAB-0FE1-9642-9E41-1421EC2799F3}" type="presParOf" srcId="{89EB0A1B-2EE1-324A-BAF6-B3FD90EB11BB}" destId="{5B891F52-CC19-764F-AAB9-7ACED231CE3C}" srcOrd="0" destOrd="0" presId="urn:microsoft.com/office/officeart/2005/8/layout/hierarchy1"/>
    <dgm:cxn modelId="{C80B785B-8EFC-9B47-97C7-84FEF9106649}" type="presParOf" srcId="{89EB0A1B-2EE1-324A-BAF6-B3FD90EB11BB}" destId="{B7B3E507-A4F1-3A46-BC42-F025F43BD79B}" srcOrd="1" destOrd="0" presId="urn:microsoft.com/office/officeart/2005/8/layout/hierarchy1"/>
    <dgm:cxn modelId="{CB24ED2E-A31B-FC4B-BBB5-56899E2660B9}" type="presParOf" srcId="{B7B3E507-A4F1-3A46-BC42-F025F43BD79B}" destId="{54C9327D-A628-BA4D-B51D-DC47D36615BA}" srcOrd="0" destOrd="0" presId="urn:microsoft.com/office/officeart/2005/8/layout/hierarchy1"/>
    <dgm:cxn modelId="{B60121B0-CA0C-0A40-B6D4-024BC1C354CE}" type="presParOf" srcId="{54C9327D-A628-BA4D-B51D-DC47D36615BA}" destId="{A04C38D2-B238-7341-809D-6E982D2CEBBE}" srcOrd="0" destOrd="0" presId="urn:microsoft.com/office/officeart/2005/8/layout/hierarchy1"/>
    <dgm:cxn modelId="{8068CFD4-A692-574F-9842-E397BE550D27}" type="presParOf" srcId="{54C9327D-A628-BA4D-B51D-DC47D36615BA}" destId="{15707D6B-51BE-9945-811B-2813CC24F399}" srcOrd="1" destOrd="0" presId="urn:microsoft.com/office/officeart/2005/8/layout/hierarchy1"/>
    <dgm:cxn modelId="{2DC95425-683D-5D45-A5A9-7AD858CE49A7}" type="presParOf" srcId="{B7B3E507-A4F1-3A46-BC42-F025F43BD79B}" destId="{12BAAE59-E812-674E-91F9-027B0A077A2E}" srcOrd="1" destOrd="0" presId="urn:microsoft.com/office/officeart/2005/8/layout/hierarchy1"/>
    <dgm:cxn modelId="{07523967-322A-9B43-9495-570AB20843AA}" type="presParOf" srcId="{12BAAE59-E812-674E-91F9-027B0A077A2E}" destId="{4CC94D77-376C-664B-B617-E9DD7A4E7B1F}" srcOrd="0" destOrd="0" presId="urn:microsoft.com/office/officeart/2005/8/layout/hierarchy1"/>
    <dgm:cxn modelId="{281BD0B7-E1CF-C04E-BCF4-19F23C496C5C}" type="presParOf" srcId="{12BAAE59-E812-674E-91F9-027B0A077A2E}" destId="{015D2E28-83D5-3041-B5DC-E818401318BD}" srcOrd="1" destOrd="0" presId="urn:microsoft.com/office/officeart/2005/8/layout/hierarchy1"/>
    <dgm:cxn modelId="{6B37DDB8-9C23-9E43-9184-4E4A7609DEEB}" type="presParOf" srcId="{015D2E28-83D5-3041-B5DC-E818401318BD}" destId="{6E513587-C0C8-014E-9E16-D448004672C7}" srcOrd="0" destOrd="0" presId="urn:microsoft.com/office/officeart/2005/8/layout/hierarchy1"/>
    <dgm:cxn modelId="{84C6679D-28A7-1645-B461-56D7734A2282}" type="presParOf" srcId="{6E513587-C0C8-014E-9E16-D448004672C7}" destId="{F38E57DC-BF51-9245-BDAF-073F7F1C2273}" srcOrd="0" destOrd="0" presId="urn:microsoft.com/office/officeart/2005/8/layout/hierarchy1"/>
    <dgm:cxn modelId="{12CBDA81-FF9C-E047-9460-F067B5BC713A}" type="presParOf" srcId="{6E513587-C0C8-014E-9E16-D448004672C7}" destId="{DE716B40-110C-7448-A2D5-CA37EA171223}" srcOrd="1" destOrd="0" presId="urn:microsoft.com/office/officeart/2005/8/layout/hierarchy1"/>
    <dgm:cxn modelId="{8FFDB1AB-B69E-A341-924B-2555034542B4}" type="presParOf" srcId="{015D2E28-83D5-3041-B5DC-E818401318BD}" destId="{F249E2B2-6214-9F47-89CB-C8829E34350A}" srcOrd="1" destOrd="0" presId="urn:microsoft.com/office/officeart/2005/8/layout/hierarchy1"/>
    <dgm:cxn modelId="{E7FDCA39-4FF3-DA48-B7EB-6D090779A8BF}" type="presParOf" srcId="{F249E2B2-6214-9F47-89CB-C8829E34350A}" destId="{B73B3C84-FD93-4E4C-B24B-7C32700A2744}" srcOrd="0" destOrd="0" presId="urn:microsoft.com/office/officeart/2005/8/layout/hierarchy1"/>
    <dgm:cxn modelId="{AC51F178-65E2-264B-806E-11A7BDD2E9BA}" type="presParOf" srcId="{F249E2B2-6214-9F47-89CB-C8829E34350A}" destId="{5323540D-1EB0-B148-8A3E-EAB86701080B}" srcOrd="1" destOrd="0" presId="urn:microsoft.com/office/officeart/2005/8/layout/hierarchy1"/>
    <dgm:cxn modelId="{49780BCA-F00C-0C43-8414-EE3177BBFCBA}" type="presParOf" srcId="{5323540D-1EB0-B148-8A3E-EAB86701080B}" destId="{4D4C83E9-459D-BE42-87AB-8AF7ABE9D030}" srcOrd="0" destOrd="0" presId="urn:microsoft.com/office/officeart/2005/8/layout/hierarchy1"/>
    <dgm:cxn modelId="{30E90544-DEF2-2D4B-9F60-DEFA8D634730}" type="presParOf" srcId="{4D4C83E9-459D-BE42-87AB-8AF7ABE9D030}" destId="{8EBE9145-C987-BB40-8CA9-209A01DF22A0}" srcOrd="0" destOrd="0" presId="urn:microsoft.com/office/officeart/2005/8/layout/hierarchy1"/>
    <dgm:cxn modelId="{5A9619AE-B3BD-5A4B-A986-E07002D84521}" type="presParOf" srcId="{4D4C83E9-459D-BE42-87AB-8AF7ABE9D030}" destId="{32AE5C9D-2F01-7A4F-865D-708C3E717BBC}" srcOrd="1" destOrd="0" presId="urn:microsoft.com/office/officeart/2005/8/layout/hierarchy1"/>
    <dgm:cxn modelId="{92FAD0D0-DBE8-EB40-9C36-FC2FB2284651}" type="presParOf" srcId="{5323540D-1EB0-B148-8A3E-EAB86701080B}" destId="{5DB425A7-086E-4F40-81A0-32A53BE58DA8}" srcOrd="1" destOrd="0" presId="urn:microsoft.com/office/officeart/2005/8/layout/hierarchy1"/>
    <dgm:cxn modelId="{F8F0BC04-26BE-CE48-96C5-BC2574616F0F}" type="presParOf" srcId="{F249E2B2-6214-9F47-89CB-C8829E34350A}" destId="{93DD3EBE-683D-D148-AC4B-02C00CBC086B}" srcOrd="2" destOrd="0" presId="urn:microsoft.com/office/officeart/2005/8/layout/hierarchy1"/>
    <dgm:cxn modelId="{E73CE3DA-7F3F-DB47-A06D-1CD1CCC28196}" type="presParOf" srcId="{F249E2B2-6214-9F47-89CB-C8829E34350A}" destId="{3CF7E850-D115-344D-8D69-A04077E1FF58}" srcOrd="3" destOrd="0" presId="urn:microsoft.com/office/officeart/2005/8/layout/hierarchy1"/>
    <dgm:cxn modelId="{03E4BC46-4D4A-5F47-B027-B455F8952741}" type="presParOf" srcId="{3CF7E850-D115-344D-8D69-A04077E1FF58}" destId="{279D8947-A84C-A949-908A-318E123F7C24}" srcOrd="0" destOrd="0" presId="urn:microsoft.com/office/officeart/2005/8/layout/hierarchy1"/>
    <dgm:cxn modelId="{FC636C4B-F951-D14C-98B4-C3021941774B}" type="presParOf" srcId="{279D8947-A84C-A949-908A-318E123F7C24}" destId="{E6904EC9-0367-9841-930E-429936332EB9}" srcOrd="0" destOrd="0" presId="urn:microsoft.com/office/officeart/2005/8/layout/hierarchy1"/>
    <dgm:cxn modelId="{D78C7131-9CA7-4A4C-83EE-3B4022D815DB}" type="presParOf" srcId="{279D8947-A84C-A949-908A-318E123F7C24}" destId="{6556AFBC-800E-7248-BCE2-35600C46870E}" srcOrd="1" destOrd="0" presId="urn:microsoft.com/office/officeart/2005/8/layout/hierarchy1"/>
    <dgm:cxn modelId="{AF93210C-0145-9646-BC27-9DF51BA5057E}" type="presParOf" srcId="{3CF7E850-D115-344D-8D69-A04077E1FF58}" destId="{85D3443E-D3E6-EF43-B606-D581C9C65832}" srcOrd="1" destOrd="0" presId="urn:microsoft.com/office/officeart/2005/8/layout/hierarchy1"/>
    <dgm:cxn modelId="{544D80CC-90D9-9C40-BF4A-D808B5C5CC34}" type="presParOf" srcId="{F249E2B2-6214-9F47-89CB-C8829E34350A}" destId="{212D4EBB-84C0-1E49-8532-28927243284C}" srcOrd="4" destOrd="0" presId="urn:microsoft.com/office/officeart/2005/8/layout/hierarchy1"/>
    <dgm:cxn modelId="{A62252ED-9A9B-4744-BAD5-0D0BF0A3E103}" type="presParOf" srcId="{F249E2B2-6214-9F47-89CB-C8829E34350A}" destId="{9B119A6C-8AD1-D34C-98BE-7C4FCF345373}" srcOrd="5" destOrd="0" presId="urn:microsoft.com/office/officeart/2005/8/layout/hierarchy1"/>
    <dgm:cxn modelId="{A7CDB0C1-0259-7C47-820B-CCD30D187CEC}" type="presParOf" srcId="{9B119A6C-8AD1-D34C-98BE-7C4FCF345373}" destId="{375C7FDB-46E5-1D4E-9AEF-B6756CF25DAC}" srcOrd="0" destOrd="0" presId="urn:microsoft.com/office/officeart/2005/8/layout/hierarchy1"/>
    <dgm:cxn modelId="{84EFFA5A-4742-3744-9B47-A004C1C2476A}" type="presParOf" srcId="{375C7FDB-46E5-1D4E-9AEF-B6756CF25DAC}" destId="{2F084B45-5845-A64D-80AB-1952062786E5}" srcOrd="0" destOrd="0" presId="urn:microsoft.com/office/officeart/2005/8/layout/hierarchy1"/>
    <dgm:cxn modelId="{56014161-AAD1-EA4C-AF1D-AE146708CD82}" type="presParOf" srcId="{375C7FDB-46E5-1D4E-9AEF-B6756CF25DAC}" destId="{F9F44457-B715-9548-B37C-C59CFA1604B1}" srcOrd="1" destOrd="0" presId="urn:microsoft.com/office/officeart/2005/8/layout/hierarchy1"/>
    <dgm:cxn modelId="{25A96502-675E-FE46-AB58-C69C68402C6F}" type="presParOf" srcId="{9B119A6C-8AD1-D34C-98BE-7C4FCF345373}" destId="{D1CC8F5A-D435-8942-85AB-A6E80E5D696D}" srcOrd="1" destOrd="0" presId="urn:microsoft.com/office/officeart/2005/8/layout/hierarchy1"/>
    <dgm:cxn modelId="{28B9B5DD-128C-FB46-BC67-4F65533E3AFC}" type="presParOf" srcId="{12BAAE59-E812-674E-91F9-027B0A077A2E}" destId="{12DF2B85-0B3E-6A43-B1AD-667053AB4410}" srcOrd="2" destOrd="0" presId="urn:microsoft.com/office/officeart/2005/8/layout/hierarchy1"/>
    <dgm:cxn modelId="{DAC0A55E-D659-334A-AF60-6D8FFC2BC84C}" type="presParOf" srcId="{12BAAE59-E812-674E-91F9-027B0A077A2E}" destId="{51994745-5C11-D045-AD8D-F9F4F55BA127}" srcOrd="3" destOrd="0" presId="urn:microsoft.com/office/officeart/2005/8/layout/hierarchy1"/>
    <dgm:cxn modelId="{379AE000-4218-E644-B65B-4F0868583E32}" type="presParOf" srcId="{51994745-5C11-D045-AD8D-F9F4F55BA127}" destId="{59D1FAAA-1210-F645-A14D-4629E990E474}" srcOrd="0" destOrd="0" presId="urn:microsoft.com/office/officeart/2005/8/layout/hierarchy1"/>
    <dgm:cxn modelId="{6DC889A6-12A7-0340-B12F-D486522A47DF}" type="presParOf" srcId="{59D1FAAA-1210-F645-A14D-4629E990E474}" destId="{E37F2F3E-E54C-6748-BF95-CC3531B4337E}" srcOrd="0" destOrd="0" presId="urn:microsoft.com/office/officeart/2005/8/layout/hierarchy1"/>
    <dgm:cxn modelId="{8EA059A3-A50D-AC48-9271-7041776EEBB2}" type="presParOf" srcId="{59D1FAAA-1210-F645-A14D-4629E990E474}" destId="{E29F8D02-CB32-6D46-8B6D-020F81C60CE6}" srcOrd="1" destOrd="0" presId="urn:microsoft.com/office/officeart/2005/8/layout/hierarchy1"/>
    <dgm:cxn modelId="{ACF834A3-9C4D-3648-BD8B-ECC316F3EA4D}" type="presParOf" srcId="{51994745-5C11-D045-AD8D-F9F4F55BA127}" destId="{893BA054-0DEA-A94F-83DA-035F39A0357A}" srcOrd="1" destOrd="0" presId="urn:microsoft.com/office/officeart/2005/8/layout/hierarchy1"/>
    <dgm:cxn modelId="{C9387788-553C-AC44-B39C-661076E57CDD}" type="presParOf" srcId="{89EB0A1B-2EE1-324A-BAF6-B3FD90EB11BB}" destId="{9B497AA1-03A6-5A43-AAA1-C4399ED77A09}" srcOrd="2" destOrd="0" presId="urn:microsoft.com/office/officeart/2005/8/layout/hierarchy1"/>
    <dgm:cxn modelId="{4327DC65-7C1C-874B-9128-C0E2356A4AAF}" type="presParOf" srcId="{89EB0A1B-2EE1-324A-BAF6-B3FD90EB11BB}" destId="{143A6024-6B0D-6046-9DE4-CD0FA34AD4E7}" srcOrd="3" destOrd="0" presId="urn:microsoft.com/office/officeart/2005/8/layout/hierarchy1"/>
    <dgm:cxn modelId="{704B2DB7-266F-3E41-91D3-F6762AE88891}" type="presParOf" srcId="{143A6024-6B0D-6046-9DE4-CD0FA34AD4E7}" destId="{EF35EB74-B337-D34E-8C5C-6E22C957F70D}" srcOrd="0" destOrd="0" presId="urn:microsoft.com/office/officeart/2005/8/layout/hierarchy1"/>
    <dgm:cxn modelId="{2D478836-FC11-CD4F-8BE7-9C9C87B2E4DB}" type="presParOf" srcId="{EF35EB74-B337-D34E-8C5C-6E22C957F70D}" destId="{8D80B4F5-F91C-AE49-B862-95569F623D55}" srcOrd="0" destOrd="0" presId="urn:microsoft.com/office/officeart/2005/8/layout/hierarchy1"/>
    <dgm:cxn modelId="{390550C8-5EBA-784E-BAA3-AB46D5181190}" type="presParOf" srcId="{EF35EB74-B337-D34E-8C5C-6E22C957F70D}" destId="{96735CAD-72E9-7D4A-AFDC-3DBB66C6A2F0}" srcOrd="1" destOrd="0" presId="urn:microsoft.com/office/officeart/2005/8/layout/hierarchy1"/>
    <dgm:cxn modelId="{51B32DE5-6EC6-DB4D-9EAE-3216094CBA42}" type="presParOf" srcId="{143A6024-6B0D-6046-9DE4-CD0FA34AD4E7}" destId="{4CA08563-BE41-6846-B7AB-B67536817273}" srcOrd="1" destOrd="0" presId="urn:microsoft.com/office/officeart/2005/8/layout/hierarchy1"/>
    <dgm:cxn modelId="{85FD9176-6C27-934F-B0CA-E8F97CA9DCD5}" type="presParOf" srcId="{4CA08563-BE41-6846-B7AB-B67536817273}" destId="{A7FE001E-C3E9-0A40-B305-4D6882F7340A}" srcOrd="0" destOrd="0" presId="urn:microsoft.com/office/officeart/2005/8/layout/hierarchy1"/>
    <dgm:cxn modelId="{411EBE2A-4BC5-064C-A9BF-17838DC19306}" type="presParOf" srcId="{4CA08563-BE41-6846-B7AB-B67536817273}" destId="{7DF33519-5166-DD4C-858F-D2939DD08591}" srcOrd="1" destOrd="0" presId="urn:microsoft.com/office/officeart/2005/8/layout/hierarchy1"/>
    <dgm:cxn modelId="{0A010EBD-3BB5-FD45-BD04-FEC00981AC1C}" type="presParOf" srcId="{7DF33519-5166-DD4C-858F-D2939DD08591}" destId="{CD38074F-B1BC-4541-BF56-4D2C65A9FCBF}" srcOrd="0" destOrd="0" presId="urn:microsoft.com/office/officeart/2005/8/layout/hierarchy1"/>
    <dgm:cxn modelId="{85974E6F-1D37-2142-BA4B-402CBEDC7CA9}" type="presParOf" srcId="{CD38074F-B1BC-4541-BF56-4D2C65A9FCBF}" destId="{8128280E-173A-4949-86F3-65B286589C9A}" srcOrd="0" destOrd="0" presId="urn:microsoft.com/office/officeart/2005/8/layout/hierarchy1"/>
    <dgm:cxn modelId="{2BA6BF98-C576-2D48-9CFC-546AF3DD5EF5}" type="presParOf" srcId="{CD38074F-B1BC-4541-BF56-4D2C65A9FCBF}" destId="{0B898601-6BDD-AE43-A6A9-5D381BC1DE04}" srcOrd="1" destOrd="0" presId="urn:microsoft.com/office/officeart/2005/8/layout/hierarchy1"/>
    <dgm:cxn modelId="{EC7AC6B5-796A-F84E-A714-CE0EC971B001}" type="presParOf" srcId="{7DF33519-5166-DD4C-858F-D2939DD08591}" destId="{C16D9C66-E080-A645-A8D4-EC69477D5D5C}" srcOrd="1" destOrd="0" presId="urn:microsoft.com/office/officeart/2005/8/layout/hierarchy1"/>
    <dgm:cxn modelId="{110D3D06-A65F-AE44-9BE9-7C4373962ACE}" type="presParOf" srcId="{4CA08563-BE41-6846-B7AB-B67536817273}" destId="{5E061148-1C8A-844A-A111-794FC2BC8581}" srcOrd="2" destOrd="0" presId="urn:microsoft.com/office/officeart/2005/8/layout/hierarchy1"/>
    <dgm:cxn modelId="{D30CE25C-4B06-1742-A036-B8353CC57CA6}" type="presParOf" srcId="{4CA08563-BE41-6846-B7AB-B67536817273}" destId="{838A0A3D-C082-F847-ADEC-074C71EE6434}" srcOrd="3" destOrd="0" presId="urn:microsoft.com/office/officeart/2005/8/layout/hierarchy1"/>
    <dgm:cxn modelId="{395CAA40-B2B7-674B-92C0-74C6F69A360A}" type="presParOf" srcId="{838A0A3D-C082-F847-ADEC-074C71EE6434}" destId="{F2A37A3A-8140-7B47-A04A-726774F86803}" srcOrd="0" destOrd="0" presId="urn:microsoft.com/office/officeart/2005/8/layout/hierarchy1"/>
    <dgm:cxn modelId="{2E08FEB0-4261-9F4B-9CA7-1057636277A5}" type="presParOf" srcId="{F2A37A3A-8140-7B47-A04A-726774F86803}" destId="{7C2ED2A0-CE4E-764B-98C8-D7E4B3D28436}" srcOrd="0" destOrd="0" presId="urn:microsoft.com/office/officeart/2005/8/layout/hierarchy1"/>
    <dgm:cxn modelId="{5933E0C6-6A57-0744-9D80-7283350612C5}" type="presParOf" srcId="{F2A37A3A-8140-7B47-A04A-726774F86803}" destId="{13E7F6D0-FA53-1944-80CA-9D6847E43F5A}" srcOrd="1" destOrd="0" presId="urn:microsoft.com/office/officeart/2005/8/layout/hierarchy1"/>
    <dgm:cxn modelId="{56E05452-A780-7E48-A28D-706E5101AB4B}" type="presParOf" srcId="{838A0A3D-C082-F847-ADEC-074C71EE6434}" destId="{CAA2499C-A714-874E-8DFD-095C48E73409}" srcOrd="1" destOrd="0" presId="urn:microsoft.com/office/officeart/2005/8/layout/hierarchy1"/>
    <dgm:cxn modelId="{163C9E56-2EBC-B940-AF0E-4BB9C518325A}" type="presParOf" srcId="{CAA2499C-A714-874E-8DFD-095C48E73409}" destId="{7A02FE56-D544-224F-A18F-847CAC7A4D20}" srcOrd="0" destOrd="0" presId="urn:microsoft.com/office/officeart/2005/8/layout/hierarchy1"/>
    <dgm:cxn modelId="{2EEB07B4-2FBC-9D47-B655-1089B7C3F643}" type="presParOf" srcId="{CAA2499C-A714-874E-8DFD-095C48E73409}" destId="{14733095-6A34-7241-A8D8-01C7003E40F7}" srcOrd="1" destOrd="0" presId="urn:microsoft.com/office/officeart/2005/8/layout/hierarchy1"/>
    <dgm:cxn modelId="{5AE7F886-6665-E744-A1C7-11BD31426FC2}" type="presParOf" srcId="{14733095-6A34-7241-A8D8-01C7003E40F7}" destId="{4EC74F4C-60E8-8F4C-91EB-DF51CA36B793}" srcOrd="0" destOrd="0" presId="urn:microsoft.com/office/officeart/2005/8/layout/hierarchy1"/>
    <dgm:cxn modelId="{76EB1B1F-AB53-404B-8567-9A75BEC9BB71}" type="presParOf" srcId="{4EC74F4C-60E8-8F4C-91EB-DF51CA36B793}" destId="{C0BBA504-6999-0242-A089-31DB04D6A9DC}" srcOrd="0" destOrd="0" presId="urn:microsoft.com/office/officeart/2005/8/layout/hierarchy1"/>
    <dgm:cxn modelId="{D215892C-6E2A-8647-A856-F091C7CD4F68}" type="presParOf" srcId="{4EC74F4C-60E8-8F4C-91EB-DF51CA36B793}" destId="{82DD6F5A-8C47-B94E-B0F4-328F4D07F3F6}" srcOrd="1" destOrd="0" presId="urn:microsoft.com/office/officeart/2005/8/layout/hierarchy1"/>
    <dgm:cxn modelId="{353BA797-7DBA-784D-A742-A40E2E924AB0}" type="presParOf" srcId="{14733095-6A34-7241-A8D8-01C7003E40F7}" destId="{9FD9B93B-9895-5F41-B252-7800F7704CE7}" srcOrd="1" destOrd="0" presId="urn:microsoft.com/office/officeart/2005/8/layout/hierarchy1"/>
    <dgm:cxn modelId="{E58F60F9-FB44-BA4B-B482-C6653CE18F80}" type="presParOf" srcId="{CAA2499C-A714-874E-8DFD-095C48E73409}" destId="{3790E5D7-3ACB-0A42-A3B8-D8C2EDC3CD22}" srcOrd="2" destOrd="0" presId="urn:microsoft.com/office/officeart/2005/8/layout/hierarchy1"/>
    <dgm:cxn modelId="{C981C3E7-01F0-1141-A29F-44931DA06CCA}" type="presParOf" srcId="{CAA2499C-A714-874E-8DFD-095C48E73409}" destId="{040680BF-250B-444F-BFB7-007FDC023062}" srcOrd="3" destOrd="0" presId="urn:microsoft.com/office/officeart/2005/8/layout/hierarchy1"/>
    <dgm:cxn modelId="{166DA277-8A7F-DD4E-A1F8-8ABC0F0318AB}" type="presParOf" srcId="{040680BF-250B-444F-BFB7-007FDC023062}" destId="{5C801BDE-2612-034A-958F-A46C99464B6D}" srcOrd="0" destOrd="0" presId="urn:microsoft.com/office/officeart/2005/8/layout/hierarchy1"/>
    <dgm:cxn modelId="{046CE4EB-F8AF-614E-A78F-E156CF39BA35}" type="presParOf" srcId="{5C801BDE-2612-034A-958F-A46C99464B6D}" destId="{BADB9149-ACE4-2746-BB80-2E7699986DCD}" srcOrd="0" destOrd="0" presId="urn:microsoft.com/office/officeart/2005/8/layout/hierarchy1"/>
    <dgm:cxn modelId="{27D79604-2431-1142-9B44-79924B92AF70}" type="presParOf" srcId="{5C801BDE-2612-034A-958F-A46C99464B6D}" destId="{18536576-2323-5247-883A-40FCAD02054B}" srcOrd="1" destOrd="0" presId="urn:microsoft.com/office/officeart/2005/8/layout/hierarchy1"/>
    <dgm:cxn modelId="{58D41FF3-E46E-E14A-AA70-D90FA2CA2AB8}" type="presParOf" srcId="{040680BF-250B-444F-BFB7-007FDC023062}" destId="{FB95C001-032A-DE4B-8E94-36D32BCA5CD9}" srcOrd="1" destOrd="0" presId="urn:microsoft.com/office/officeart/2005/8/layout/hierarchy1"/>
    <dgm:cxn modelId="{C213A4AD-96AC-5647-9F53-0898D56EC31F}" type="presParOf" srcId="{CAA2499C-A714-874E-8DFD-095C48E73409}" destId="{4B57C69E-B2B3-434D-9EAF-0BADCE2147AB}" srcOrd="4" destOrd="0" presId="urn:microsoft.com/office/officeart/2005/8/layout/hierarchy1"/>
    <dgm:cxn modelId="{BCBC1FDC-096A-D04E-B3F9-4D40D03FEFB2}" type="presParOf" srcId="{CAA2499C-A714-874E-8DFD-095C48E73409}" destId="{3365E251-D7F6-F84F-88C4-D162D8B99263}" srcOrd="5" destOrd="0" presId="urn:microsoft.com/office/officeart/2005/8/layout/hierarchy1"/>
    <dgm:cxn modelId="{4015278D-7321-6648-AB01-7FCC6B1DAD20}" type="presParOf" srcId="{3365E251-D7F6-F84F-88C4-D162D8B99263}" destId="{82C933FC-0E2C-9E4A-AF0E-DFDCDEE32C63}" srcOrd="0" destOrd="0" presId="urn:microsoft.com/office/officeart/2005/8/layout/hierarchy1"/>
    <dgm:cxn modelId="{8074578C-AA3F-B242-A166-95A00DA76609}" type="presParOf" srcId="{82C933FC-0E2C-9E4A-AF0E-DFDCDEE32C63}" destId="{707FD993-DC1D-474C-9CDF-2024E56685BF}" srcOrd="0" destOrd="0" presId="urn:microsoft.com/office/officeart/2005/8/layout/hierarchy1"/>
    <dgm:cxn modelId="{5AC3C644-B57A-C844-BD0E-F725D452265A}" type="presParOf" srcId="{82C933FC-0E2C-9E4A-AF0E-DFDCDEE32C63}" destId="{A26FAC72-D1BE-5547-99A8-EFAA0D51C233}" srcOrd="1" destOrd="0" presId="urn:microsoft.com/office/officeart/2005/8/layout/hierarchy1"/>
    <dgm:cxn modelId="{8DDECAF7-58DF-B949-8B1A-5AEDB9C3BF0C}" type="presParOf" srcId="{3365E251-D7F6-F84F-88C4-D162D8B99263}" destId="{CDD83308-2EB5-A848-AEA6-5210A4AB6923}" srcOrd="1" destOrd="0" presId="urn:microsoft.com/office/officeart/2005/8/layout/hierarchy1"/>
    <dgm:cxn modelId="{8B4BEAFD-AD73-C54A-AAD9-178DFA89E5FC}" type="presParOf" srcId="{6270910C-4C7E-F84B-81F7-C94BC7E95F11}" destId="{5197F8BB-2B0E-9041-A6D0-B7A812620968}" srcOrd="2" destOrd="0" presId="urn:microsoft.com/office/officeart/2005/8/layout/hierarchy1"/>
    <dgm:cxn modelId="{31A78EB8-E1EE-244E-9DBD-B24F7E3DE6DF}" type="presParOf" srcId="{6270910C-4C7E-F84B-81F7-C94BC7E95F11}" destId="{0F58459C-E776-3745-AE99-C343817F8162}" srcOrd="3" destOrd="0" presId="urn:microsoft.com/office/officeart/2005/8/layout/hierarchy1"/>
    <dgm:cxn modelId="{8CDD4451-D0E1-D341-9C96-214C562C527E}" type="presParOf" srcId="{0F58459C-E776-3745-AE99-C343817F8162}" destId="{194F1146-11EC-4F48-A04D-A958DC247113}" srcOrd="0" destOrd="0" presId="urn:microsoft.com/office/officeart/2005/8/layout/hierarchy1"/>
    <dgm:cxn modelId="{F1F8FD53-085A-BA48-80E5-294574D07B15}" type="presParOf" srcId="{194F1146-11EC-4F48-A04D-A958DC247113}" destId="{94666250-0917-7942-A92F-32F21DE90780}" srcOrd="0" destOrd="0" presId="urn:microsoft.com/office/officeart/2005/8/layout/hierarchy1"/>
    <dgm:cxn modelId="{8AAEA8BC-9C40-404E-B4CE-6E0CB7CBD478}" type="presParOf" srcId="{194F1146-11EC-4F48-A04D-A958DC247113}" destId="{ADD5371C-E5E3-4B4C-8E46-6949F5C56386}" srcOrd="1" destOrd="0" presId="urn:microsoft.com/office/officeart/2005/8/layout/hierarchy1"/>
    <dgm:cxn modelId="{9FA7ABF7-C77D-5647-81C7-92C5017D3F6D}" type="presParOf" srcId="{0F58459C-E776-3745-AE99-C343817F8162}" destId="{B75C695B-B5D8-B14C-A4C3-EF98880C7203}" srcOrd="1" destOrd="0" presId="urn:microsoft.com/office/officeart/2005/8/layout/hierarchy1"/>
    <dgm:cxn modelId="{187A1A38-2D14-104E-AC78-CA546644742B}" type="presParOf" srcId="{B75C695B-B5D8-B14C-A4C3-EF98880C7203}" destId="{838DABBF-EC07-CB47-A5F5-02B7B29DD5E3}" srcOrd="0" destOrd="0" presId="urn:microsoft.com/office/officeart/2005/8/layout/hierarchy1"/>
    <dgm:cxn modelId="{869DC57A-8A29-3848-AD0F-1415F1009672}" type="presParOf" srcId="{B75C695B-B5D8-B14C-A4C3-EF98880C7203}" destId="{52576B14-53D7-EC47-B708-0B0088BA017E}" srcOrd="1" destOrd="0" presId="urn:microsoft.com/office/officeart/2005/8/layout/hierarchy1"/>
    <dgm:cxn modelId="{7D680DD9-49EE-8249-B840-C135149DA18B}" type="presParOf" srcId="{52576B14-53D7-EC47-B708-0B0088BA017E}" destId="{ACAC0C84-F089-7B4F-9B52-A246581B98CA}" srcOrd="0" destOrd="0" presId="urn:microsoft.com/office/officeart/2005/8/layout/hierarchy1"/>
    <dgm:cxn modelId="{D04F43F1-C7F7-1447-BA38-F007E63A72C1}" type="presParOf" srcId="{ACAC0C84-F089-7B4F-9B52-A246581B98CA}" destId="{283F9657-8411-BA45-ADFE-7BC79F816CCA}" srcOrd="0" destOrd="0" presId="urn:microsoft.com/office/officeart/2005/8/layout/hierarchy1"/>
    <dgm:cxn modelId="{A4188599-15B4-F64B-AB42-AFF84E6F7488}" type="presParOf" srcId="{ACAC0C84-F089-7B4F-9B52-A246581B98CA}" destId="{016658CB-EA14-FA47-BBEE-45DDB94BC1C5}" srcOrd="1" destOrd="0" presId="urn:microsoft.com/office/officeart/2005/8/layout/hierarchy1"/>
    <dgm:cxn modelId="{BEF9934F-69B3-5346-ABD0-A151BF4E7D9E}" type="presParOf" srcId="{52576B14-53D7-EC47-B708-0B0088BA017E}" destId="{1FEE4C7C-739E-AF43-8BC1-D72AC5828909}" srcOrd="1" destOrd="0" presId="urn:microsoft.com/office/officeart/2005/8/layout/hierarchy1"/>
    <dgm:cxn modelId="{C98B54DD-5D1E-0C4D-BCF8-29CCB3787CA8}" type="presParOf" srcId="{B75C695B-B5D8-B14C-A4C3-EF98880C7203}" destId="{B78B6250-CC18-0E46-995F-5DF2C1E43A04}" srcOrd="2" destOrd="0" presId="urn:microsoft.com/office/officeart/2005/8/layout/hierarchy1"/>
    <dgm:cxn modelId="{84E45435-7983-6E4F-B23F-9A6803BAF8E5}" type="presParOf" srcId="{B75C695B-B5D8-B14C-A4C3-EF98880C7203}" destId="{BC9FE176-4224-AD4D-9BB0-43EAA6229FE0}" srcOrd="3" destOrd="0" presId="urn:microsoft.com/office/officeart/2005/8/layout/hierarchy1"/>
    <dgm:cxn modelId="{88C62735-9C62-2E4C-AFEC-C07735D2B386}" type="presParOf" srcId="{BC9FE176-4224-AD4D-9BB0-43EAA6229FE0}" destId="{5C71BE75-B964-514F-81B1-CDD7350244EB}" srcOrd="0" destOrd="0" presId="urn:microsoft.com/office/officeart/2005/8/layout/hierarchy1"/>
    <dgm:cxn modelId="{9FBD16DF-8069-1C45-B521-DBF13172C432}" type="presParOf" srcId="{5C71BE75-B964-514F-81B1-CDD7350244EB}" destId="{70D8FBF9-E63B-5844-8706-1BD276D9BF05}" srcOrd="0" destOrd="0" presId="urn:microsoft.com/office/officeart/2005/8/layout/hierarchy1"/>
    <dgm:cxn modelId="{A1E6F9D3-F43C-F945-8582-3260D97ABE31}" type="presParOf" srcId="{5C71BE75-B964-514F-81B1-CDD7350244EB}" destId="{7EDF1005-6EB9-E64A-B9C4-399B67FD1BC4}" srcOrd="1" destOrd="0" presId="urn:microsoft.com/office/officeart/2005/8/layout/hierarchy1"/>
    <dgm:cxn modelId="{EFD21EF7-0E95-4D4A-ADAB-FF4EA44D7788}" type="presParOf" srcId="{BC9FE176-4224-AD4D-9BB0-43EAA6229FE0}" destId="{E8C2E344-360D-904C-A31E-039E094E311A}"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F3357FD-18B0-1644-966C-BCE3778B58DD}" type="doc">
      <dgm:prSet loTypeId="urn:microsoft.com/office/officeart/2005/8/layout/orgChart1" loCatId="" qsTypeId="urn:microsoft.com/office/officeart/2005/8/quickstyle/simple2" qsCatId="simple" csTypeId="urn:microsoft.com/office/officeart/2005/8/colors/accent1_2" csCatId="accent1" phldr="1"/>
      <dgm:spPr/>
      <dgm:t>
        <a:bodyPr/>
        <a:lstStyle/>
        <a:p>
          <a:endParaRPr lang="en-US"/>
        </a:p>
      </dgm:t>
    </dgm:pt>
    <dgm:pt modelId="{25517EF2-3665-EB4B-9D7F-2C037C685C4E}">
      <dgm:prSet phldrT="[Text]"/>
      <dgm:spPr>
        <a:solidFill>
          <a:schemeClr val="accent1">
            <a:lumMod val="5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dd to Cart</a:t>
          </a:r>
          <a:endParaRPr lang="en-US" b="1" dirty="0"/>
        </a:p>
      </dgm:t>
    </dgm:pt>
    <dgm:pt modelId="{D1D1E974-9AD9-1A42-A6F6-F902A49BDCFF}" type="parTrans" cxnId="{B00A64FC-E62B-0B48-B010-0717DFBC827A}">
      <dgm:prSet/>
      <dgm:spPr/>
      <dgm:t>
        <a:bodyPr/>
        <a:lstStyle/>
        <a:p>
          <a:endParaRPr lang="en-US"/>
        </a:p>
      </dgm:t>
    </dgm:pt>
    <dgm:pt modelId="{56D907EF-C84C-3B48-8C95-0AE5C1659474}" type="sibTrans" cxnId="{B00A64FC-E62B-0B48-B010-0717DFBC827A}">
      <dgm:prSet/>
      <dgm:spPr/>
      <dgm:t>
        <a:bodyPr/>
        <a:lstStyle/>
        <a:p>
          <a:endParaRPr lang="en-US"/>
        </a:p>
      </dgm:t>
    </dgm:pt>
    <dgm:pt modelId="{4B26847B-222F-E04F-B93F-7958496DA65C}">
      <dgm:prSet phldrT="[Text]"/>
      <dgm:spPr>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Emphasize the Primary Call to Action</a:t>
          </a:r>
          <a:endParaRPr lang="en-US" b="1" dirty="0">
            <a:effectLst>
              <a:outerShdw blurRad="50800" dist="38100" dir="2700000" algn="tl" rotWithShape="0">
                <a:prstClr val="black">
                  <a:alpha val="40000"/>
                </a:prstClr>
              </a:outerShdw>
            </a:effectLst>
          </a:endParaRPr>
        </a:p>
      </dgm:t>
    </dgm:pt>
    <dgm:pt modelId="{07AFA923-B56F-0042-B585-5B06F0FA0896}" type="parTrans" cxnId="{8F920AE9-1886-AC40-A98C-863F5AB3ABB2}">
      <dgm:prSet/>
      <dgm:spPr/>
      <dgm:t>
        <a:bodyPr/>
        <a:lstStyle/>
        <a:p>
          <a:endParaRPr lang="en-US"/>
        </a:p>
      </dgm:t>
    </dgm:pt>
    <dgm:pt modelId="{EF2C2E1F-9C59-4E44-9BFF-B9B74523D935}" type="sibTrans" cxnId="{8F920AE9-1886-AC40-A98C-863F5AB3ABB2}">
      <dgm:prSet/>
      <dgm:spPr/>
      <dgm:t>
        <a:bodyPr/>
        <a:lstStyle/>
        <a:p>
          <a:endParaRPr lang="en-US"/>
        </a:p>
      </dgm:t>
    </dgm:pt>
    <dgm:pt modelId="{50B35D2E-59F3-7346-A146-7B84569A518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Wording / messaging</a:t>
          </a:r>
          <a:endParaRPr lang="en-US" b="1" dirty="0">
            <a:effectLst>
              <a:outerShdw blurRad="50800" dist="38100" dir="2700000" algn="tl" rotWithShape="0">
                <a:prstClr val="black">
                  <a:alpha val="40000"/>
                </a:prstClr>
              </a:outerShdw>
            </a:effectLst>
          </a:endParaRPr>
        </a:p>
      </dgm:t>
    </dgm:pt>
    <dgm:pt modelId="{33424807-C11D-7C4A-85E7-BB0E19ACD352}" type="parTrans" cxnId="{A3DEF5DD-4DA5-064F-9A64-A11BE283B5FA}">
      <dgm:prSet/>
      <dgm:spPr/>
      <dgm:t>
        <a:bodyPr/>
        <a:lstStyle/>
        <a:p>
          <a:endParaRPr lang="en-US"/>
        </a:p>
      </dgm:t>
    </dgm:pt>
    <dgm:pt modelId="{FD010288-FF0D-2D49-A5AC-435BA24A2550}" type="sibTrans" cxnId="{A3DEF5DD-4DA5-064F-9A64-A11BE283B5FA}">
      <dgm:prSet/>
      <dgm:spPr/>
      <dgm:t>
        <a:bodyPr/>
        <a:lstStyle/>
        <a:p>
          <a:endParaRPr lang="en-US"/>
        </a:p>
      </dgm:t>
    </dgm:pt>
    <dgm:pt modelId="{C6588B98-FB28-334E-BDCA-56820ACB056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Location / size</a:t>
          </a:r>
          <a:endParaRPr lang="en-US" b="1" dirty="0">
            <a:effectLst>
              <a:outerShdw blurRad="50800" dist="38100" dir="2700000" algn="tl" rotWithShape="0">
                <a:prstClr val="black">
                  <a:alpha val="40000"/>
                </a:prstClr>
              </a:outerShdw>
            </a:effectLst>
          </a:endParaRPr>
        </a:p>
      </dgm:t>
    </dgm:pt>
    <dgm:pt modelId="{3B5A4386-A293-8747-A207-2A8D5CABEA7A}" type="parTrans" cxnId="{E04C6730-3FFD-5D4B-985C-9C0A77B05039}">
      <dgm:prSet/>
      <dgm:spPr/>
      <dgm:t>
        <a:bodyPr/>
        <a:lstStyle/>
        <a:p>
          <a:endParaRPr lang="en-US"/>
        </a:p>
      </dgm:t>
    </dgm:pt>
    <dgm:pt modelId="{1DAD777C-69EB-524E-B685-59D1A2C22C8E}" type="sibTrans" cxnId="{E04C6730-3FFD-5D4B-985C-9C0A77B05039}">
      <dgm:prSet/>
      <dgm:spPr/>
      <dgm:t>
        <a:bodyPr/>
        <a:lstStyle/>
        <a:p>
          <a:endParaRPr lang="en-US"/>
        </a:p>
      </dgm:t>
    </dgm:pt>
    <dgm:pt modelId="{C70D9AAD-288E-0B4A-A4D2-9169EEB4C5E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inimize Distractions</a:t>
          </a:r>
          <a:endParaRPr lang="en-US" b="1" dirty="0">
            <a:effectLst>
              <a:outerShdw blurRad="50800" dist="38100" dir="2700000" algn="tl" rotWithShape="0">
                <a:prstClr val="black">
                  <a:alpha val="40000"/>
                </a:prstClr>
              </a:outerShdw>
            </a:effectLst>
          </a:endParaRPr>
        </a:p>
      </dgm:t>
    </dgm:pt>
    <dgm:pt modelId="{F5F28F68-69DA-C347-938A-3CCF605B29AB}" type="parTrans" cxnId="{219BA358-66B7-0F44-B8A3-21E80178ACCF}">
      <dgm:prSet/>
      <dgm:spPr/>
      <dgm:t>
        <a:bodyPr/>
        <a:lstStyle/>
        <a:p>
          <a:endParaRPr lang="en-US"/>
        </a:p>
      </dgm:t>
    </dgm:pt>
    <dgm:pt modelId="{6A1A54A5-98A7-FF49-9699-4CB4608AB21F}" type="sibTrans" cxnId="{219BA358-66B7-0F44-B8A3-21E80178ACCF}">
      <dgm:prSet/>
      <dgm:spPr/>
      <dgm:t>
        <a:bodyPr/>
        <a:lstStyle/>
        <a:p>
          <a:endParaRPr lang="en-US"/>
        </a:p>
      </dgm:t>
    </dgm:pt>
    <dgm:pt modelId="{BA6FF226-3807-2346-A740-CE3E60981FB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Establish a visual hierarchy</a:t>
          </a:r>
          <a:endParaRPr lang="en-US" b="1" dirty="0">
            <a:effectLst>
              <a:outerShdw blurRad="50800" dist="38100" dir="2700000" algn="tl" rotWithShape="0">
                <a:prstClr val="black">
                  <a:alpha val="40000"/>
                </a:prstClr>
              </a:outerShdw>
            </a:effectLst>
          </a:endParaRPr>
        </a:p>
      </dgm:t>
    </dgm:pt>
    <dgm:pt modelId="{705E07FB-4646-5640-AD39-5663CA022EE0}" type="parTrans" cxnId="{4F00E388-C72F-E24D-B41C-C77F61A7A0A7}">
      <dgm:prSet/>
      <dgm:spPr/>
      <dgm:t>
        <a:bodyPr/>
        <a:lstStyle/>
        <a:p>
          <a:endParaRPr lang="en-US"/>
        </a:p>
      </dgm:t>
    </dgm:pt>
    <dgm:pt modelId="{4F2ECF20-4C49-5249-A0EF-5FAE6D3E84AE}" type="sibTrans" cxnId="{4F00E388-C72F-E24D-B41C-C77F61A7A0A7}">
      <dgm:prSet/>
      <dgm:spPr/>
      <dgm:t>
        <a:bodyPr/>
        <a:lstStyle/>
        <a:p>
          <a:endParaRPr lang="en-US"/>
        </a:p>
      </dgm:t>
    </dgm:pt>
    <dgm:pt modelId="{8C2CA5B6-6500-9D43-9984-AE6727A18F74}">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move non-critical content</a:t>
          </a:r>
          <a:endParaRPr lang="en-US" b="1" dirty="0">
            <a:effectLst>
              <a:outerShdw blurRad="50800" dist="38100" dir="2700000" algn="tl" rotWithShape="0">
                <a:prstClr val="black">
                  <a:alpha val="40000"/>
                </a:prstClr>
              </a:outerShdw>
            </a:effectLst>
          </a:endParaRPr>
        </a:p>
      </dgm:t>
    </dgm:pt>
    <dgm:pt modelId="{537E3EB2-8400-9F46-8E14-018A525A6F13}" type="parTrans" cxnId="{2BF524E2-1BD9-DA47-8878-2D47CE1636A8}">
      <dgm:prSet/>
      <dgm:spPr/>
      <dgm:t>
        <a:bodyPr/>
        <a:lstStyle/>
        <a:p>
          <a:endParaRPr lang="en-US"/>
        </a:p>
      </dgm:t>
    </dgm:pt>
    <dgm:pt modelId="{B03FC588-7422-B345-AC2A-404830D942A9}" type="sibTrans" cxnId="{2BF524E2-1BD9-DA47-8878-2D47CE1636A8}">
      <dgm:prSet/>
      <dgm:spPr/>
      <dgm:t>
        <a:bodyPr/>
        <a:lstStyle/>
        <a:p>
          <a:endParaRPr lang="en-US"/>
        </a:p>
      </dgm:t>
    </dgm:pt>
    <dgm:pt modelId="{5B4F3E0D-971E-3647-86E4-6868F203DC2B}">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ommunicate Unique Selling Points</a:t>
          </a:r>
          <a:endParaRPr lang="en-US" b="1" dirty="0">
            <a:effectLst>
              <a:outerShdw blurRad="50800" dist="38100" dir="2700000" algn="tl" rotWithShape="0">
                <a:prstClr val="black">
                  <a:alpha val="40000"/>
                </a:prstClr>
              </a:outerShdw>
            </a:effectLst>
          </a:endParaRPr>
        </a:p>
      </dgm:t>
    </dgm:pt>
    <dgm:pt modelId="{F35DDD95-A0E8-D04C-90F4-7D2AE6A0AF8D}" type="parTrans" cxnId="{507A7539-079D-884C-A750-47DC0E0F2B5F}">
      <dgm:prSet/>
      <dgm:spPr/>
      <dgm:t>
        <a:bodyPr/>
        <a:lstStyle/>
        <a:p>
          <a:endParaRPr lang="en-US"/>
        </a:p>
      </dgm:t>
    </dgm:pt>
    <dgm:pt modelId="{F173B29F-EA33-FF4F-8F61-60CD6EE8F154}" type="sibTrans" cxnId="{507A7539-079D-884C-A750-47DC0E0F2B5F}">
      <dgm:prSet/>
      <dgm:spPr/>
      <dgm:t>
        <a:bodyPr/>
        <a:lstStyle/>
        <a:p>
          <a:endParaRPr lang="en-US"/>
        </a:p>
      </dgm:t>
    </dgm:pt>
    <dgm:pt modelId="{1A5ABF02-3DC0-3F46-89A6-D4A83DB904D1}">
      <dgm:prSet phldrT="[Text]"/>
      <dgm:spPr>
        <a:solidFill>
          <a:schemeClr val="accent1">
            <a:lumMod val="60000"/>
            <a:lumOff val="40000"/>
          </a:schemeClr>
        </a:solidFill>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Select/target the right USP’s</a:t>
          </a:r>
          <a:endParaRPr lang="en-US" b="1" dirty="0">
            <a:effectLst>
              <a:outerShdw blurRad="50800" dist="38100" dir="2700000" algn="tl" rotWithShape="0">
                <a:prstClr val="black">
                  <a:alpha val="40000"/>
                </a:prstClr>
              </a:outerShdw>
            </a:effectLst>
          </a:endParaRPr>
        </a:p>
      </dgm:t>
    </dgm:pt>
    <dgm:pt modelId="{7FF81494-F22E-3B4A-AE0B-9C51C4A0F12C}" type="parTrans" cxnId="{7D8294E6-07BD-5D4C-9ACF-8116659315FA}">
      <dgm:prSet/>
      <dgm:spPr/>
      <dgm:t>
        <a:bodyPr/>
        <a:lstStyle/>
        <a:p>
          <a:endParaRPr lang="en-US"/>
        </a:p>
      </dgm:t>
    </dgm:pt>
    <dgm:pt modelId="{CD3754BE-0B21-2447-82D0-254D5E91DDB9}" type="sibTrans" cxnId="{7D8294E6-07BD-5D4C-9ACF-8116659315FA}">
      <dgm:prSet/>
      <dgm:spPr/>
      <dgm:t>
        <a:bodyPr/>
        <a:lstStyle/>
        <a:p>
          <a:endParaRPr lang="en-US"/>
        </a:p>
      </dgm:t>
    </dgm:pt>
    <dgm:pt modelId="{11B5AD18-48FD-6A4B-A82C-B8D0882BDFD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fine the messaging</a:t>
          </a:r>
          <a:endParaRPr lang="en-US" b="1" dirty="0">
            <a:effectLst>
              <a:outerShdw blurRad="50800" dist="38100" dir="2700000" algn="tl" rotWithShape="0">
                <a:prstClr val="black">
                  <a:alpha val="40000"/>
                </a:prstClr>
              </a:outerShdw>
            </a:effectLst>
          </a:endParaRPr>
        </a:p>
      </dgm:t>
    </dgm:pt>
    <dgm:pt modelId="{76C0524B-EDDB-FA4A-A6A1-2FDCA1EEFA25}" type="parTrans" cxnId="{567C4151-E086-6440-93D2-C44BC75B3D12}">
      <dgm:prSet/>
      <dgm:spPr/>
      <dgm:t>
        <a:bodyPr/>
        <a:lstStyle/>
        <a:p>
          <a:endParaRPr lang="en-US"/>
        </a:p>
      </dgm:t>
    </dgm:pt>
    <dgm:pt modelId="{F5E5DF55-1CB3-094F-AB65-827743BF210C}" type="sibTrans" cxnId="{567C4151-E086-6440-93D2-C44BC75B3D12}">
      <dgm:prSet/>
      <dgm:spPr/>
      <dgm:t>
        <a:bodyPr/>
        <a:lstStyle/>
        <a:p>
          <a:endParaRPr lang="en-US"/>
        </a:p>
      </dgm:t>
    </dgm:pt>
    <dgm:pt modelId="{49CB4C51-4B03-F94A-A9CC-2536C8F9270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Design Intuitive Navigation</a:t>
          </a:r>
          <a:endParaRPr lang="en-US" b="1" dirty="0">
            <a:effectLst>
              <a:outerShdw blurRad="50800" dist="38100" dir="2700000" algn="tl" rotWithShape="0">
                <a:prstClr val="black">
                  <a:alpha val="40000"/>
                </a:prstClr>
              </a:outerShdw>
            </a:effectLst>
          </a:endParaRPr>
        </a:p>
      </dgm:t>
    </dgm:pt>
    <dgm:pt modelId="{4BB222BF-BE28-4C47-9A72-39286C322445}" type="parTrans" cxnId="{9A43DC00-7CFB-E944-A61A-772AC3B1A419}">
      <dgm:prSet/>
      <dgm:spPr/>
      <dgm:t>
        <a:bodyPr/>
        <a:lstStyle/>
        <a:p>
          <a:endParaRPr lang="en-US"/>
        </a:p>
      </dgm:t>
    </dgm:pt>
    <dgm:pt modelId="{B9C2BE04-1365-0646-9A8C-152868F5C0E7}" type="sibTrans" cxnId="{9A43DC00-7CFB-E944-A61A-772AC3B1A419}">
      <dgm:prSet/>
      <dgm:spPr/>
      <dgm:t>
        <a:bodyPr/>
        <a:lstStyle/>
        <a:p>
          <a:endParaRPr lang="en-US"/>
        </a:p>
      </dgm:t>
    </dgm:pt>
    <dgm:pt modelId="{14A9B10A-492B-F046-AA45-A18CECB57509}">
      <dgm:prSet phldrT="[Text]"/>
      <dgm:spPr>
        <a:solidFill>
          <a:schemeClr val="accent1">
            <a:lumMod val="60000"/>
            <a:lumOff val="40000"/>
          </a:schemeClr>
        </a:solidFill>
        <a:ln w="101600" cmpd="dbl">
          <a:solidFill>
            <a:schemeClr val="bg1"/>
          </a:solidFill>
        </a:ln>
      </dgm:spPr>
      <dgm:t>
        <a:bodyPr lIns="91440" tIns="18288" rIns="91440"/>
        <a:lstStyle/>
        <a:p>
          <a:r>
            <a:rPr lang="en-US" b="1" smtClean="0">
              <a:effectLst>
                <a:outerShdw blurRad="50800" dist="38100" dir="2700000" algn="tl" rotWithShape="0">
                  <a:prstClr val="black">
                    <a:alpha val="40000"/>
                  </a:prstClr>
                </a:outerShdw>
              </a:effectLst>
            </a:rPr>
            <a:t>Use a clear, consistent layout</a:t>
          </a:r>
          <a:endParaRPr lang="en-US" b="1" dirty="0">
            <a:effectLst>
              <a:outerShdw blurRad="50800" dist="38100" dir="2700000" algn="tl" rotWithShape="0">
                <a:prstClr val="black">
                  <a:alpha val="40000"/>
                </a:prstClr>
              </a:outerShdw>
            </a:effectLst>
          </a:endParaRPr>
        </a:p>
      </dgm:t>
    </dgm:pt>
    <dgm:pt modelId="{964A5E62-97E7-C048-9268-0DD949F4134F}" type="parTrans" cxnId="{A36B01A2-EF46-2B4A-B4B9-5FCB9A2315D0}">
      <dgm:prSet/>
      <dgm:spPr/>
      <dgm:t>
        <a:bodyPr/>
        <a:lstStyle/>
        <a:p>
          <a:endParaRPr lang="en-US"/>
        </a:p>
      </dgm:t>
    </dgm:pt>
    <dgm:pt modelId="{7A26E861-AF89-6F4A-88AE-4CE5F18F3043}" type="sibTrans" cxnId="{A36B01A2-EF46-2B4A-B4B9-5FCB9A2315D0}">
      <dgm:prSet/>
      <dgm:spPr/>
      <dgm:t>
        <a:bodyPr/>
        <a:lstStyle/>
        <a:p>
          <a:endParaRPr lang="en-US"/>
        </a:p>
      </dgm:t>
    </dgm:pt>
    <dgm:pt modelId="{D388754C-8CDF-944F-81D9-734A1D624D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tructure, naming, and order of sections</a:t>
          </a:r>
          <a:endParaRPr lang="en-US" b="1" dirty="0">
            <a:effectLst>
              <a:outerShdw blurRad="50800" dist="38100" dir="2700000" algn="tl" rotWithShape="0">
                <a:prstClr val="black">
                  <a:alpha val="40000"/>
                </a:prstClr>
              </a:outerShdw>
            </a:effectLst>
          </a:endParaRPr>
        </a:p>
      </dgm:t>
    </dgm:pt>
    <dgm:pt modelId="{7D0C8FC0-2822-5146-86DC-E862D57D28F7}" type="parTrans" cxnId="{6395D2D6-9093-984B-BF32-B7A82BED7ADA}">
      <dgm:prSet/>
      <dgm:spPr/>
      <dgm:t>
        <a:bodyPr/>
        <a:lstStyle/>
        <a:p>
          <a:endParaRPr lang="en-US"/>
        </a:p>
      </dgm:t>
    </dgm:pt>
    <dgm:pt modelId="{06E79FDE-5F09-BB4D-B6D0-7AB67CB26B63}" type="sibTrans" cxnId="{6395D2D6-9093-984B-BF32-B7A82BED7ADA}">
      <dgm:prSet/>
      <dgm:spPr/>
      <dgm:t>
        <a:bodyPr/>
        <a:lstStyle/>
        <a:p>
          <a:endParaRPr lang="en-US"/>
        </a:p>
      </dgm:t>
    </dgm:pt>
    <dgm:pt modelId="{67FD2AD4-7083-B34B-8AB9-E13081EF86F9}">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arket Products Effectively</a:t>
          </a:r>
          <a:endParaRPr lang="en-US" b="1" dirty="0">
            <a:effectLst>
              <a:outerShdw blurRad="50800" dist="38100" dir="2700000" algn="tl" rotWithShape="0">
                <a:prstClr val="black">
                  <a:alpha val="40000"/>
                </a:prstClr>
              </a:outerShdw>
            </a:effectLst>
          </a:endParaRPr>
        </a:p>
      </dgm:t>
    </dgm:pt>
    <dgm:pt modelId="{F409B74A-4849-4F40-B00A-E62D8179565D}" type="parTrans" cxnId="{1BA6F9EE-A2DD-0743-9AB9-02C159019733}">
      <dgm:prSet/>
      <dgm:spPr/>
      <dgm:t>
        <a:bodyPr/>
        <a:lstStyle/>
        <a:p>
          <a:endParaRPr lang="en-US"/>
        </a:p>
      </dgm:t>
    </dgm:pt>
    <dgm:pt modelId="{3897B640-7E39-3E42-96E9-264EBC4AEE1F}" type="sibTrans" cxnId="{1BA6F9EE-A2DD-0743-9AB9-02C159019733}">
      <dgm:prSet/>
      <dgm:spPr/>
      <dgm:t>
        <a:bodyPr/>
        <a:lstStyle/>
        <a:p>
          <a:endParaRPr lang="en-US"/>
        </a:p>
      </dgm:t>
    </dgm:pt>
    <dgm:pt modelId="{480C2FAB-0A28-DC43-92DE-A584FB0DAE31}">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est ideal product visuals</a:t>
          </a:r>
          <a:endParaRPr lang="en-US" b="1" dirty="0">
            <a:effectLst>
              <a:outerShdw blurRad="50800" dist="38100" dir="2700000" algn="tl" rotWithShape="0">
                <a:prstClr val="black">
                  <a:alpha val="40000"/>
                </a:prstClr>
              </a:outerShdw>
            </a:effectLst>
          </a:endParaRPr>
        </a:p>
      </dgm:t>
    </dgm:pt>
    <dgm:pt modelId="{D5307D3E-A636-324D-8C3A-9829230BB487}" type="parTrans" cxnId="{468376E6-F32C-784C-AF1C-F32F9EEE22F0}">
      <dgm:prSet/>
      <dgm:spPr/>
      <dgm:t>
        <a:bodyPr/>
        <a:lstStyle/>
        <a:p>
          <a:endParaRPr lang="en-US"/>
        </a:p>
      </dgm:t>
    </dgm:pt>
    <dgm:pt modelId="{A7E8F226-EDDB-004D-8FA7-624FBA8EE44D}" type="sibTrans" cxnId="{468376E6-F32C-784C-AF1C-F32F9EEE22F0}">
      <dgm:prSet/>
      <dgm:spPr/>
      <dgm:t>
        <a:bodyPr/>
        <a:lstStyle/>
        <a:p>
          <a:endParaRPr lang="en-US"/>
        </a:p>
      </dgm:t>
    </dgm:pt>
    <dgm:pt modelId="{73C75B63-3273-2346-8A61-65D3F5E8CBC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Use the right review systems</a:t>
          </a:r>
          <a:endParaRPr lang="en-US" b="1" dirty="0">
            <a:effectLst>
              <a:outerShdw blurRad="50800" dist="38100" dir="2700000" algn="tl" rotWithShape="0">
                <a:prstClr val="black">
                  <a:alpha val="40000"/>
                </a:prstClr>
              </a:outerShdw>
            </a:effectLst>
          </a:endParaRPr>
        </a:p>
      </dgm:t>
    </dgm:pt>
    <dgm:pt modelId="{411D2A1A-9B4A-674A-B93D-2C923CBCDFDB}" type="parTrans" cxnId="{DE82662A-7317-3A44-9B7E-83AB1D77A8E6}">
      <dgm:prSet/>
      <dgm:spPr/>
      <dgm:t>
        <a:bodyPr/>
        <a:lstStyle/>
        <a:p>
          <a:endParaRPr lang="en-US"/>
        </a:p>
      </dgm:t>
    </dgm:pt>
    <dgm:pt modelId="{0DA3E687-69A2-C040-A91D-CC726019B849}" type="sibTrans" cxnId="{DE82662A-7317-3A44-9B7E-83AB1D77A8E6}">
      <dgm:prSet/>
      <dgm:spPr/>
      <dgm:t>
        <a:bodyPr/>
        <a:lstStyle/>
        <a:p>
          <a:endParaRPr lang="en-US"/>
        </a:p>
      </dgm:t>
    </dgm:pt>
    <dgm:pt modelId="{D069104F-4C0B-3147-953F-A5D93E0C8F12}">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Build a Sense of Urgency</a:t>
          </a:r>
          <a:endParaRPr lang="en-US" b="1" dirty="0">
            <a:effectLst>
              <a:outerShdw blurRad="50800" dist="38100" dir="2700000" algn="tl" rotWithShape="0">
                <a:prstClr val="black">
                  <a:alpha val="40000"/>
                </a:prstClr>
              </a:outerShdw>
            </a:effectLst>
          </a:endParaRPr>
        </a:p>
      </dgm:t>
    </dgm:pt>
    <dgm:pt modelId="{E110FCDD-5DD2-7A49-B84B-225145A8853A}" type="parTrans" cxnId="{B456C1ED-CE32-F147-B0E7-907F06C4219F}">
      <dgm:prSet/>
      <dgm:spPr/>
      <dgm:t>
        <a:bodyPr/>
        <a:lstStyle/>
        <a:p>
          <a:endParaRPr lang="en-US"/>
        </a:p>
      </dgm:t>
    </dgm:pt>
    <dgm:pt modelId="{39A089AB-A795-484A-A4A6-264956AD86C0}" type="sibTrans" cxnId="{B456C1ED-CE32-F147-B0E7-907F06C4219F}">
      <dgm:prSet/>
      <dgm:spPr/>
      <dgm:t>
        <a:bodyPr/>
        <a:lstStyle/>
        <a:p>
          <a:endParaRPr lang="en-US"/>
        </a:p>
      </dgm:t>
    </dgm:pt>
    <dgm:pt modelId="{C3ACB4D6-7889-774B-A5F7-FFA378C074CF}">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how quantity left</a:t>
          </a:r>
          <a:endParaRPr lang="en-US" b="1" dirty="0">
            <a:effectLst>
              <a:outerShdw blurRad="50800" dist="38100" dir="2700000" algn="tl" rotWithShape="0">
                <a:prstClr val="black">
                  <a:alpha val="40000"/>
                </a:prstClr>
              </a:outerShdw>
            </a:effectLst>
          </a:endParaRPr>
        </a:p>
      </dgm:t>
    </dgm:pt>
    <dgm:pt modelId="{2D781344-65A3-CC42-AE48-89E6ECA195E3}" type="parTrans" cxnId="{B03B2853-7799-6542-973F-38921B9C59DC}">
      <dgm:prSet/>
      <dgm:spPr/>
      <dgm:t>
        <a:bodyPr/>
        <a:lstStyle/>
        <a:p>
          <a:endParaRPr lang="en-US"/>
        </a:p>
      </dgm:t>
    </dgm:pt>
    <dgm:pt modelId="{D38DE1B7-1B09-0E49-ACB8-C9CFDEF1647E}" type="sibTrans" cxnId="{B03B2853-7799-6542-973F-38921B9C59DC}">
      <dgm:prSet/>
      <dgm:spPr/>
      <dgm:t>
        <a:bodyPr/>
        <a:lstStyle/>
        <a:p>
          <a:endParaRPr lang="en-US"/>
        </a:p>
      </dgm:t>
    </dgm:pt>
    <dgm:pt modelId="{02A61A4C-1F65-A841-A4A7-C10C1A746FA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temporary offers</a:t>
          </a:r>
          <a:endParaRPr lang="en-US" b="1" dirty="0">
            <a:effectLst>
              <a:outerShdw blurRad="50800" dist="38100" dir="2700000" algn="tl" rotWithShape="0">
                <a:prstClr val="black">
                  <a:alpha val="40000"/>
                </a:prstClr>
              </a:outerShdw>
            </a:effectLst>
          </a:endParaRPr>
        </a:p>
      </dgm:t>
    </dgm:pt>
    <dgm:pt modelId="{9197C098-8C8E-D049-B974-F3A046C386B0}" type="parTrans" cxnId="{44982454-02A3-964A-A7E9-6B1BED7E6639}">
      <dgm:prSet/>
      <dgm:spPr/>
      <dgm:t>
        <a:bodyPr/>
        <a:lstStyle/>
        <a:p>
          <a:endParaRPr lang="en-US"/>
        </a:p>
      </dgm:t>
    </dgm:pt>
    <dgm:pt modelId="{9C0643BD-024C-6945-806C-AD1907A088E2}" type="sibTrans" cxnId="{44982454-02A3-964A-A7E9-6B1BED7E6639}">
      <dgm:prSet/>
      <dgm:spPr/>
      <dgm:t>
        <a:bodyPr/>
        <a:lstStyle/>
        <a:p>
          <a:endParaRPr lang="en-US"/>
        </a:p>
      </dgm:t>
    </dgm:pt>
    <dgm:pt modelId="{6308DAA9-F7A4-2D4C-A7FF-EBCD8392D5B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omote buying before set times</a:t>
          </a:r>
          <a:endParaRPr lang="en-US" b="1" dirty="0">
            <a:effectLst>
              <a:outerShdw blurRad="50800" dist="38100" dir="2700000" algn="tl" rotWithShape="0">
                <a:prstClr val="black">
                  <a:alpha val="40000"/>
                </a:prstClr>
              </a:outerShdw>
            </a:effectLst>
          </a:endParaRPr>
        </a:p>
      </dgm:t>
    </dgm:pt>
    <dgm:pt modelId="{2541B10E-6F92-C44B-974B-71F50AD1905E}" type="sibTrans" cxnId="{4C4FAA6A-FB05-D740-AF92-B5A4CD82B0CC}">
      <dgm:prSet/>
      <dgm:spPr/>
      <dgm:t>
        <a:bodyPr/>
        <a:lstStyle/>
        <a:p>
          <a:endParaRPr lang="en-US"/>
        </a:p>
      </dgm:t>
    </dgm:pt>
    <dgm:pt modelId="{9ACF3F41-8BA2-7647-A016-D4E5A2A50965}" type="parTrans" cxnId="{4C4FAA6A-FB05-D740-AF92-B5A4CD82B0CC}">
      <dgm:prSet/>
      <dgm:spPr/>
      <dgm:t>
        <a:bodyPr/>
        <a:lstStyle/>
        <a:p>
          <a:endParaRPr lang="en-US"/>
        </a:p>
      </dgm:t>
    </dgm:pt>
    <dgm:pt modelId="{A53C0CFE-184A-1146-8FA6-FFD39694D4B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Find ideal description text / length</a:t>
          </a:r>
          <a:endParaRPr lang="en-US" b="1" dirty="0">
            <a:effectLst>
              <a:outerShdw blurRad="50800" dist="38100" dir="2700000" algn="tl" rotWithShape="0">
                <a:prstClr val="black">
                  <a:alpha val="40000"/>
                </a:prstClr>
              </a:outerShdw>
            </a:effectLst>
          </a:endParaRPr>
        </a:p>
      </dgm:t>
    </dgm:pt>
    <dgm:pt modelId="{713A8226-1B84-4E41-A1CB-EBD5E7CFFDE7}" type="sibTrans" cxnId="{DE475260-3A92-934F-B6B6-0F0EE16460F4}">
      <dgm:prSet/>
      <dgm:spPr/>
      <dgm:t>
        <a:bodyPr/>
        <a:lstStyle/>
        <a:p>
          <a:endParaRPr lang="en-US"/>
        </a:p>
      </dgm:t>
    </dgm:pt>
    <dgm:pt modelId="{3096FC50-CDEA-CD40-A16C-4FE101488966}" type="parTrans" cxnId="{DE475260-3A92-934F-B6B6-0F0EE16460F4}">
      <dgm:prSet/>
      <dgm:spPr/>
      <dgm:t>
        <a:bodyPr/>
        <a:lstStyle/>
        <a:p>
          <a:endParaRPr lang="en-US"/>
        </a:p>
      </dgm:t>
    </dgm:pt>
    <dgm:pt modelId="{5959550F-67B9-B04E-91C4-902A91EFE7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Use iconography</a:t>
          </a:r>
          <a:endParaRPr lang="en-US" b="1" dirty="0">
            <a:effectLst>
              <a:outerShdw blurRad="50800" dist="38100" dir="2700000" algn="tl" rotWithShape="0">
                <a:prstClr val="black">
                  <a:alpha val="40000"/>
                </a:prstClr>
              </a:outerShdw>
            </a:effectLst>
          </a:endParaRPr>
        </a:p>
      </dgm:t>
    </dgm:pt>
    <dgm:pt modelId="{13323021-6798-904F-A2E1-2BF25AC8C76A}" type="sibTrans" cxnId="{765F496A-DF0A-D340-82AA-515F7E305441}">
      <dgm:prSet/>
      <dgm:spPr/>
      <dgm:t>
        <a:bodyPr/>
        <a:lstStyle/>
        <a:p>
          <a:endParaRPr lang="en-US"/>
        </a:p>
      </dgm:t>
    </dgm:pt>
    <dgm:pt modelId="{BEEC9641-8114-8F4D-8D80-33DB53450849}" type="parTrans" cxnId="{765F496A-DF0A-D340-82AA-515F7E305441}">
      <dgm:prSet/>
      <dgm:spPr/>
      <dgm:t>
        <a:bodyPr/>
        <a:lstStyle/>
        <a:p>
          <a:endParaRPr lang="en-US"/>
        </a:p>
      </dgm:t>
    </dgm:pt>
    <dgm:pt modelId="{1DF3C01B-2614-5C42-80DD-7422BFA9073B}">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ommunicate visually</a:t>
          </a:r>
          <a:endParaRPr lang="en-US" b="1" dirty="0">
            <a:effectLst>
              <a:outerShdw blurRad="50800" dist="38100" dir="2700000" algn="tl" rotWithShape="0">
                <a:prstClr val="black">
                  <a:alpha val="40000"/>
                </a:prstClr>
              </a:outerShdw>
            </a:effectLst>
          </a:endParaRPr>
        </a:p>
      </dgm:t>
    </dgm:pt>
    <dgm:pt modelId="{036CF8FE-F202-7F4F-841D-5436F4E76D0C}" type="sibTrans" cxnId="{D3656547-4FE9-5C46-8AF9-1BAE6BBB3612}">
      <dgm:prSet/>
      <dgm:spPr/>
      <dgm:t>
        <a:bodyPr/>
        <a:lstStyle/>
        <a:p>
          <a:endParaRPr lang="en-US"/>
        </a:p>
      </dgm:t>
    </dgm:pt>
    <dgm:pt modelId="{EFC072AF-A0F9-2340-A2B6-3F5834C6C0F3}" type="parTrans" cxnId="{D3656547-4FE9-5C46-8AF9-1BAE6BBB3612}">
      <dgm:prSet/>
      <dgm:spPr/>
      <dgm:t>
        <a:bodyPr/>
        <a:lstStyle/>
        <a:p>
          <a:endParaRPr lang="en-US"/>
        </a:p>
      </dgm:t>
    </dgm:pt>
    <dgm:pt modelId="{338A4ADE-7A0B-DA46-A749-6378547614A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Limit number of choices</a:t>
          </a:r>
          <a:endParaRPr lang="en-US" b="1" dirty="0">
            <a:effectLst>
              <a:outerShdw blurRad="50800" dist="38100" dir="2700000" algn="tl" rotWithShape="0">
                <a:prstClr val="black">
                  <a:alpha val="40000"/>
                </a:prstClr>
              </a:outerShdw>
            </a:effectLst>
          </a:endParaRPr>
        </a:p>
      </dgm:t>
    </dgm:pt>
    <dgm:pt modelId="{DAB67360-C5DA-964D-A265-B384EDA879CD}" type="sibTrans" cxnId="{6F47062D-6E63-1C4F-8B35-A2743E2FDBE3}">
      <dgm:prSet/>
      <dgm:spPr/>
      <dgm:t>
        <a:bodyPr/>
        <a:lstStyle/>
        <a:p>
          <a:endParaRPr lang="en-US"/>
        </a:p>
      </dgm:t>
    </dgm:pt>
    <dgm:pt modelId="{7085B25D-4135-BC43-B854-9EAACE03C079}" type="parTrans" cxnId="{6F47062D-6E63-1C4F-8B35-A2743E2FDBE3}">
      <dgm:prSet/>
      <dgm:spPr/>
      <dgm:t>
        <a:bodyPr/>
        <a:lstStyle/>
        <a:p>
          <a:endParaRPr lang="en-US"/>
        </a:p>
      </dgm:t>
    </dgm:pt>
    <dgm:pt modelId="{6ED0CB55-86AA-574C-ACD3-3B855323E998}">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Design / color / iconography</a:t>
          </a:r>
          <a:endParaRPr lang="en-US" b="1" dirty="0">
            <a:effectLst>
              <a:outerShdw blurRad="50800" dist="38100" dir="2700000" algn="tl" rotWithShape="0">
                <a:prstClr val="black">
                  <a:alpha val="40000"/>
                </a:prstClr>
              </a:outerShdw>
            </a:effectLst>
          </a:endParaRPr>
        </a:p>
      </dgm:t>
    </dgm:pt>
    <dgm:pt modelId="{29D931B7-5EF3-7C46-8DD6-E1AF7D9AF902}" type="sibTrans" cxnId="{2DB5EFD8-AA35-3D44-982F-3C839A1C30C0}">
      <dgm:prSet/>
      <dgm:spPr/>
      <dgm:t>
        <a:bodyPr/>
        <a:lstStyle/>
        <a:p>
          <a:endParaRPr lang="en-US"/>
        </a:p>
      </dgm:t>
    </dgm:pt>
    <dgm:pt modelId="{7D0052A5-00E7-E545-B888-401A40246FF3}" type="parTrans" cxnId="{2DB5EFD8-AA35-3D44-982F-3C839A1C30C0}">
      <dgm:prSet/>
      <dgm:spPr/>
      <dgm:t>
        <a:bodyPr/>
        <a:lstStyle/>
        <a:p>
          <a:endParaRPr lang="en-US"/>
        </a:p>
      </dgm:t>
    </dgm:pt>
    <dgm:pt modelId="{30607E5D-7EC8-8446-AD48-AEEC633315C8}" type="pres">
      <dgm:prSet presAssocID="{AF3357FD-18B0-1644-966C-BCE3778B58DD}" presName="hierChild1" presStyleCnt="0">
        <dgm:presLayoutVars>
          <dgm:orgChart val="1"/>
          <dgm:chPref val="1"/>
          <dgm:dir/>
          <dgm:animOne val="branch"/>
          <dgm:animLvl val="lvl"/>
          <dgm:resizeHandles/>
        </dgm:presLayoutVars>
      </dgm:prSet>
      <dgm:spPr/>
      <dgm:t>
        <a:bodyPr/>
        <a:lstStyle/>
        <a:p>
          <a:endParaRPr lang="en-US"/>
        </a:p>
      </dgm:t>
    </dgm:pt>
    <dgm:pt modelId="{01768E30-7C00-9D46-B106-9803EF77DB72}" type="pres">
      <dgm:prSet presAssocID="{25517EF2-3665-EB4B-9D7F-2C037C685C4E}" presName="hierRoot1" presStyleCnt="0">
        <dgm:presLayoutVars>
          <dgm:hierBranch val="init"/>
        </dgm:presLayoutVars>
      </dgm:prSet>
      <dgm:spPr/>
    </dgm:pt>
    <dgm:pt modelId="{37E44035-6D06-FE4D-927A-CD14E98DC4F7}" type="pres">
      <dgm:prSet presAssocID="{25517EF2-3665-EB4B-9D7F-2C037C685C4E}" presName="rootComposite1" presStyleCnt="0"/>
      <dgm:spPr/>
    </dgm:pt>
    <dgm:pt modelId="{06637420-A86F-4644-990A-75D86B7E454C}" type="pres">
      <dgm:prSet presAssocID="{25517EF2-3665-EB4B-9D7F-2C037C685C4E}" presName="rootText1" presStyleLbl="node0" presStyleIdx="0" presStyleCnt="1" custScaleX="125731" custScaleY="163289">
        <dgm:presLayoutVars>
          <dgm:chPref val="3"/>
        </dgm:presLayoutVars>
      </dgm:prSet>
      <dgm:spPr>
        <a:prstGeom prst="roundRect">
          <a:avLst/>
        </a:prstGeom>
      </dgm:spPr>
      <dgm:t>
        <a:bodyPr/>
        <a:lstStyle/>
        <a:p>
          <a:endParaRPr lang="en-US"/>
        </a:p>
      </dgm:t>
    </dgm:pt>
    <dgm:pt modelId="{466535D8-AEE6-1D47-974F-880041EEEAA5}" type="pres">
      <dgm:prSet presAssocID="{25517EF2-3665-EB4B-9D7F-2C037C685C4E}" presName="rootConnector1" presStyleLbl="node1" presStyleIdx="0" presStyleCnt="0"/>
      <dgm:spPr/>
      <dgm:t>
        <a:bodyPr/>
        <a:lstStyle/>
        <a:p>
          <a:endParaRPr lang="en-US"/>
        </a:p>
      </dgm:t>
    </dgm:pt>
    <dgm:pt modelId="{C176592F-E087-B04D-9588-EF6FC2F92869}" type="pres">
      <dgm:prSet presAssocID="{25517EF2-3665-EB4B-9D7F-2C037C685C4E}" presName="hierChild2" presStyleCnt="0"/>
      <dgm:spPr/>
    </dgm:pt>
    <dgm:pt modelId="{0F5D9B2B-0CE6-4D47-A7B6-80BAEBDC59FC}" type="pres">
      <dgm:prSet presAssocID="{07AFA923-B56F-0042-B585-5B06F0FA0896}" presName="Name37" presStyleLbl="parChTrans1D2" presStyleIdx="0" presStyleCnt="6" custSzY="569430"/>
      <dgm:spPr/>
      <dgm:t>
        <a:bodyPr/>
        <a:lstStyle/>
        <a:p>
          <a:endParaRPr lang="en-US"/>
        </a:p>
      </dgm:t>
    </dgm:pt>
    <dgm:pt modelId="{0F65DF5F-EBEB-B343-9794-35C42F4DC89D}" type="pres">
      <dgm:prSet presAssocID="{4B26847B-222F-E04F-B93F-7958496DA65C}" presName="hierRoot2" presStyleCnt="0">
        <dgm:presLayoutVars>
          <dgm:hierBranch val="init"/>
        </dgm:presLayoutVars>
      </dgm:prSet>
      <dgm:spPr/>
    </dgm:pt>
    <dgm:pt modelId="{D29FBFF0-EB79-0F4F-8C4A-4AF2BBB0A047}" type="pres">
      <dgm:prSet presAssocID="{4B26847B-222F-E04F-B93F-7958496DA65C}" presName="rootComposite" presStyleCnt="0"/>
      <dgm:spPr/>
    </dgm:pt>
    <dgm:pt modelId="{91D7ADA8-1475-9349-913E-9C2D53C1D7C9}" type="pres">
      <dgm:prSet presAssocID="{4B26847B-222F-E04F-B93F-7958496DA65C}" presName="rootText" presStyleLbl="node2" presStyleIdx="0" presStyleCnt="6" custScaleX="122545" custScaleY="163289">
        <dgm:presLayoutVars>
          <dgm:chPref val="3"/>
        </dgm:presLayoutVars>
      </dgm:prSet>
      <dgm:spPr>
        <a:prstGeom prst="roundRect">
          <a:avLst/>
        </a:prstGeom>
      </dgm:spPr>
      <dgm:t>
        <a:bodyPr/>
        <a:lstStyle/>
        <a:p>
          <a:endParaRPr lang="en-US"/>
        </a:p>
      </dgm:t>
    </dgm:pt>
    <dgm:pt modelId="{A7DBADC9-C072-5C48-A3E3-552A2F42BAEE}" type="pres">
      <dgm:prSet presAssocID="{4B26847B-222F-E04F-B93F-7958496DA65C}" presName="rootConnector" presStyleLbl="node2" presStyleIdx="0" presStyleCnt="6"/>
      <dgm:spPr/>
      <dgm:t>
        <a:bodyPr/>
        <a:lstStyle/>
        <a:p>
          <a:endParaRPr lang="en-US"/>
        </a:p>
      </dgm:t>
    </dgm:pt>
    <dgm:pt modelId="{69158542-B581-0247-BAE6-60E62584FEB9}" type="pres">
      <dgm:prSet presAssocID="{4B26847B-222F-E04F-B93F-7958496DA65C}" presName="hierChild4" presStyleCnt="0"/>
      <dgm:spPr/>
    </dgm:pt>
    <dgm:pt modelId="{44E963F3-2784-9E43-9E90-000EB562AE2A}" type="pres">
      <dgm:prSet presAssocID="{33424807-C11D-7C4A-85E7-BB0E19ACD352}" presName="Name37" presStyleLbl="parChTrans1D3" presStyleIdx="0" presStyleCnt="18" custSzY="1501939"/>
      <dgm:spPr/>
      <dgm:t>
        <a:bodyPr/>
        <a:lstStyle/>
        <a:p>
          <a:endParaRPr lang="en-US"/>
        </a:p>
      </dgm:t>
    </dgm:pt>
    <dgm:pt modelId="{53955494-3838-2F45-BEBB-CE94816E60BA}" type="pres">
      <dgm:prSet presAssocID="{50B35D2E-59F3-7346-A146-7B84569A5183}" presName="hierRoot2" presStyleCnt="0">
        <dgm:presLayoutVars>
          <dgm:hierBranch val="init"/>
        </dgm:presLayoutVars>
      </dgm:prSet>
      <dgm:spPr/>
    </dgm:pt>
    <dgm:pt modelId="{282371C0-CB9F-F142-BFE4-23129E24152E}" type="pres">
      <dgm:prSet presAssocID="{50B35D2E-59F3-7346-A146-7B84569A5183}" presName="rootComposite" presStyleCnt="0"/>
      <dgm:spPr/>
    </dgm:pt>
    <dgm:pt modelId="{2ED78204-93EC-064C-823A-1586CD82394C}" type="pres">
      <dgm:prSet presAssocID="{50B35D2E-59F3-7346-A146-7B84569A5183}" presName="rootText" presStyleLbl="node3" presStyleIdx="0" presStyleCnt="18" custScaleY="163289">
        <dgm:presLayoutVars>
          <dgm:chPref val="3"/>
        </dgm:presLayoutVars>
      </dgm:prSet>
      <dgm:spPr>
        <a:prstGeom prst="roundRect">
          <a:avLst/>
        </a:prstGeom>
      </dgm:spPr>
      <dgm:t>
        <a:bodyPr/>
        <a:lstStyle/>
        <a:p>
          <a:endParaRPr lang="en-US"/>
        </a:p>
      </dgm:t>
    </dgm:pt>
    <dgm:pt modelId="{36770380-7547-ED48-AB39-E00707E5AE49}" type="pres">
      <dgm:prSet presAssocID="{50B35D2E-59F3-7346-A146-7B84569A5183}" presName="rootConnector" presStyleLbl="node3" presStyleIdx="0" presStyleCnt="18"/>
      <dgm:spPr/>
      <dgm:t>
        <a:bodyPr/>
        <a:lstStyle/>
        <a:p>
          <a:endParaRPr lang="en-US"/>
        </a:p>
      </dgm:t>
    </dgm:pt>
    <dgm:pt modelId="{7FD810D4-2EE4-0A43-B7CD-AE490DD9C8B4}" type="pres">
      <dgm:prSet presAssocID="{50B35D2E-59F3-7346-A146-7B84569A5183}" presName="hierChild4" presStyleCnt="0"/>
      <dgm:spPr/>
    </dgm:pt>
    <dgm:pt modelId="{A06DA4CD-7588-714E-AB31-0B7105F724FF}" type="pres">
      <dgm:prSet presAssocID="{50B35D2E-59F3-7346-A146-7B84569A5183}" presName="hierChild5" presStyleCnt="0"/>
      <dgm:spPr/>
    </dgm:pt>
    <dgm:pt modelId="{88E2A4D5-E62D-B048-BDF2-2627D68216CE}" type="pres">
      <dgm:prSet presAssocID="{3B5A4386-A293-8747-A207-2A8D5CABEA7A}" presName="Name37" presStyleLbl="parChTrans1D3" presStyleIdx="1" presStyleCnt="18" custSzY="3936388"/>
      <dgm:spPr/>
      <dgm:t>
        <a:bodyPr/>
        <a:lstStyle/>
        <a:p>
          <a:endParaRPr lang="en-US"/>
        </a:p>
      </dgm:t>
    </dgm:pt>
    <dgm:pt modelId="{C7C9DA51-6B03-C94F-93CB-D44D3137A8B1}" type="pres">
      <dgm:prSet presAssocID="{C6588B98-FB28-334E-BDCA-56820ACB0569}" presName="hierRoot2" presStyleCnt="0">
        <dgm:presLayoutVars>
          <dgm:hierBranch val="init"/>
        </dgm:presLayoutVars>
      </dgm:prSet>
      <dgm:spPr/>
    </dgm:pt>
    <dgm:pt modelId="{CCCCC64E-4161-4D41-9593-1A4F78C7EF17}" type="pres">
      <dgm:prSet presAssocID="{C6588B98-FB28-334E-BDCA-56820ACB0569}" presName="rootComposite" presStyleCnt="0"/>
      <dgm:spPr/>
    </dgm:pt>
    <dgm:pt modelId="{3B98D480-5A9A-0A4D-8BDC-FE216FA48EE4}" type="pres">
      <dgm:prSet presAssocID="{C6588B98-FB28-334E-BDCA-56820ACB0569}" presName="rootText" presStyleLbl="node3" presStyleIdx="1" presStyleCnt="18" custScaleY="163289">
        <dgm:presLayoutVars>
          <dgm:chPref val="3"/>
        </dgm:presLayoutVars>
      </dgm:prSet>
      <dgm:spPr>
        <a:prstGeom prst="roundRect">
          <a:avLst/>
        </a:prstGeom>
      </dgm:spPr>
      <dgm:t>
        <a:bodyPr/>
        <a:lstStyle/>
        <a:p>
          <a:endParaRPr lang="en-US"/>
        </a:p>
      </dgm:t>
    </dgm:pt>
    <dgm:pt modelId="{CCA6A030-3016-FB4D-BB2D-797B6CA6511F}" type="pres">
      <dgm:prSet presAssocID="{C6588B98-FB28-334E-BDCA-56820ACB0569}" presName="rootConnector" presStyleLbl="node3" presStyleIdx="1" presStyleCnt="18"/>
      <dgm:spPr/>
      <dgm:t>
        <a:bodyPr/>
        <a:lstStyle/>
        <a:p>
          <a:endParaRPr lang="en-US"/>
        </a:p>
      </dgm:t>
    </dgm:pt>
    <dgm:pt modelId="{893D50E5-BFD6-374D-B623-8C8F06D30FB9}" type="pres">
      <dgm:prSet presAssocID="{C6588B98-FB28-334E-BDCA-56820ACB0569}" presName="hierChild4" presStyleCnt="0"/>
      <dgm:spPr/>
    </dgm:pt>
    <dgm:pt modelId="{9A169D03-FEAA-964F-82BE-17DF2B44F83D}" type="pres">
      <dgm:prSet presAssocID="{C6588B98-FB28-334E-BDCA-56820ACB0569}" presName="hierChild5" presStyleCnt="0"/>
      <dgm:spPr/>
    </dgm:pt>
    <dgm:pt modelId="{CDA8158C-1C6B-024B-9E64-1510DD2C7A55}" type="pres">
      <dgm:prSet presAssocID="{7D0052A5-00E7-E545-B888-401A40246FF3}" presName="Name37" presStyleLbl="parChTrans1D3" presStyleIdx="2" presStyleCnt="18" custSzY="6370837"/>
      <dgm:spPr/>
      <dgm:t>
        <a:bodyPr/>
        <a:lstStyle/>
        <a:p>
          <a:endParaRPr lang="en-US"/>
        </a:p>
      </dgm:t>
    </dgm:pt>
    <dgm:pt modelId="{86D1A16A-2EDC-7B49-BDD5-ADA121CED2D3}" type="pres">
      <dgm:prSet presAssocID="{6ED0CB55-86AA-574C-ACD3-3B855323E998}" presName="hierRoot2" presStyleCnt="0">
        <dgm:presLayoutVars>
          <dgm:hierBranch val="init"/>
        </dgm:presLayoutVars>
      </dgm:prSet>
      <dgm:spPr/>
    </dgm:pt>
    <dgm:pt modelId="{64FB60A2-29ED-0C42-82BE-AEF32C4DEBD0}" type="pres">
      <dgm:prSet presAssocID="{6ED0CB55-86AA-574C-ACD3-3B855323E998}" presName="rootComposite" presStyleCnt="0"/>
      <dgm:spPr/>
    </dgm:pt>
    <dgm:pt modelId="{2C0E0A56-4821-5340-9545-5653DBEF3E82}" type="pres">
      <dgm:prSet presAssocID="{6ED0CB55-86AA-574C-ACD3-3B855323E998}" presName="rootText" presStyleLbl="node3" presStyleIdx="2" presStyleCnt="18" custScaleY="163289">
        <dgm:presLayoutVars>
          <dgm:chPref val="3"/>
        </dgm:presLayoutVars>
      </dgm:prSet>
      <dgm:spPr>
        <a:prstGeom prst="roundRect">
          <a:avLst/>
        </a:prstGeom>
      </dgm:spPr>
      <dgm:t>
        <a:bodyPr/>
        <a:lstStyle/>
        <a:p>
          <a:endParaRPr lang="en-US"/>
        </a:p>
      </dgm:t>
    </dgm:pt>
    <dgm:pt modelId="{10D8D681-CBDA-D246-9198-063E1F1463D5}" type="pres">
      <dgm:prSet presAssocID="{6ED0CB55-86AA-574C-ACD3-3B855323E998}" presName="rootConnector" presStyleLbl="node3" presStyleIdx="2" presStyleCnt="18"/>
      <dgm:spPr/>
      <dgm:t>
        <a:bodyPr/>
        <a:lstStyle/>
        <a:p>
          <a:endParaRPr lang="en-US"/>
        </a:p>
      </dgm:t>
    </dgm:pt>
    <dgm:pt modelId="{CC9BABF7-5A8C-E043-A639-9D9F60E49EB2}" type="pres">
      <dgm:prSet presAssocID="{6ED0CB55-86AA-574C-ACD3-3B855323E998}" presName="hierChild4" presStyleCnt="0"/>
      <dgm:spPr/>
    </dgm:pt>
    <dgm:pt modelId="{CE13E513-7EF6-3C4A-BF03-7E569F8E0EFD}" type="pres">
      <dgm:prSet presAssocID="{6ED0CB55-86AA-574C-ACD3-3B855323E998}" presName="hierChild5" presStyleCnt="0"/>
      <dgm:spPr/>
    </dgm:pt>
    <dgm:pt modelId="{99494E59-30AF-C84C-8FAD-74D70922C5BB}" type="pres">
      <dgm:prSet presAssocID="{4B26847B-222F-E04F-B93F-7958496DA65C}" presName="hierChild5" presStyleCnt="0"/>
      <dgm:spPr/>
    </dgm:pt>
    <dgm:pt modelId="{6AB3DB73-5383-E944-8E93-5490DBAC07ED}" type="pres">
      <dgm:prSet presAssocID="{F5F28F68-69DA-C347-938A-3CCF605B29AB}" presName="Name37" presStyleLbl="parChTrans1D2" presStyleIdx="1" presStyleCnt="6" custSzY="569430"/>
      <dgm:spPr/>
      <dgm:t>
        <a:bodyPr/>
        <a:lstStyle/>
        <a:p>
          <a:endParaRPr lang="en-US"/>
        </a:p>
      </dgm:t>
    </dgm:pt>
    <dgm:pt modelId="{063E0CF9-7144-D34B-96D0-290257049F24}" type="pres">
      <dgm:prSet presAssocID="{C70D9AAD-288E-0B4A-A4D2-9169EEB4C5EF}" presName="hierRoot2" presStyleCnt="0">
        <dgm:presLayoutVars>
          <dgm:hierBranch val="init"/>
        </dgm:presLayoutVars>
      </dgm:prSet>
      <dgm:spPr/>
    </dgm:pt>
    <dgm:pt modelId="{9D7957A4-BCF4-A64B-9FA8-89318DD7C26C}" type="pres">
      <dgm:prSet presAssocID="{C70D9AAD-288E-0B4A-A4D2-9169EEB4C5EF}" presName="rootComposite" presStyleCnt="0"/>
      <dgm:spPr/>
    </dgm:pt>
    <dgm:pt modelId="{6A1B3FF2-4302-AB42-9144-D0C7AF33189D}" type="pres">
      <dgm:prSet presAssocID="{C70D9AAD-288E-0B4A-A4D2-9169EEB4C5EF}" presName="rootText" presStyleLbl="node2" presStyleIdx="1" presStyleCnt="6" custScaleX="122545" custScaleY="163289">
        <dgm:presLayoutVars>
          <dgm:chPref val="3"/>
        </dgm:presLayoutVars>
      </dgm:prSet>
      <dgm:spPr>
        <a:prstGeom prst="roundRect">
          <a:avLst/>
        </a:prstGeom>
      </dgm:spPr>
      <dgm:t>
        <a:bodyPr/>
        <a:lstStyle/>
        <a:p>
          <a:endParaRPr lang="en-US"/>
        </a:p>
      </dgm:t>
    </dgm:pt>
    <dgm:pt modelId="{A8476105-19F1-B646-B233-7DFE7667D28F}" type="pres">
      <dgm:prSet presAssocID="{C70D9AAD-288E-0B4A-A4D2-9169EEB4C5EF}" presName="rootConnector" presStyleLbl="node2" presStyleIdx="1" presStyleCnt="6"/>
      <dgm:spPr/>
      <dgm:t>
        <a:bodyPr/>
        <a:lstStyle/>
        <a:p>
          <a:endParaRPr lang="en-US"/>
        </a:p>
      </dgm:t>
    </dgm:pt>
    <dgm:pt modelId="{DB85212C-909C-BE4F-9C57-AA092C9F8F68}" type="pres">
      <dgm:prSet presAssocID="{C70D9AAD-288E-0B4A-A4D2-9169EEB4C5EF}" presName="hierChild4" presStyleCnt="0"/>
      <dgm:spPr/>
    </dgm:pt>
    <dgm:pt modelId="{FCB70BC6-8BC2-7740-8498-E09039141FAE}" type="pres">
      <dgm:prSet presAssocID="{705E07FB-4646-5640-AD39-5663CA022EE0}" presName="Name37" presStyleLbl="parChTrans1D3" presStyleIdx="3" presStyleCnt="18" custSzY="1501939"/>
      <dgm:spPr/>
      <dgm:t>
        <a:bodyPr/>
        <a:lstStyle/>
        <a:p>
          <a:endParaRPr lang="en-US"/>
        </a:p>
      </dgm:t>
    </dgm:pt>
    <dgm:pt modelId="{8A2CB56E-93D1-874C-81A9-9FAC0DA015D2}" type="pres">
      <dgm:prSet presAssocID="{BA6FF226-3807-2346-A740-CE3E60981FB3}" presName="hierRoot2" presStyleCnt="0">
        <dgm:presLayoutVars>
          <dgm:hierBranch val="init"/>
        </dgm:presLayoutVars>
      </dgm:prSet>
      <dgm:spPr/>
    </dgm:pt>
    <dgm:pt modelId="{56803695-D01D-974E-959F-E4FC5996044F}" type="pres">
      <dgm:prSet presAssocID="{BA6FF226-3807-2346-A740-CE3E60981FB3}" presName="rootComposite" presStyleCnt="0"/>
      <dgm:spPr/>
    </dgm:pt>
    <dgm:pt modelId="{22959F47-69F7-D445-9334-5C7C176A2653}" type="pres">
      <dgm:prSet presAssocID="{BA6FF226-3807-2346-A740-CE3E60981FB3}" presName="rootText" presStyleLbl="node3" presStyleIdx="3" presStyleCnt="18" custScaleY="163289">
        <dgm:presLayoutVars>
          <dgm:chPref val="3"/>
        </dgm:presLayoutVars>
      </dgm:prSet>
      <dgm:spPr>
        <a:prstGeom prst="roundRect">
          <a:avLst/>
        </a:prstGeom>
      </dgm:spPr>
      <dgm:t>
        <a:bodyPr/>
        <a:lstStyle/>
        <a:p>
          <a:endParaRPr lang="en-US"/>
        </a:p>
      </dgm:t>
    </dgm:pt>
    <dgm:pt modelId="{8C060B5F-BBBF-2049-9E6B-A69B2A074D8E}" type="pres">
      <dgm:prSet presAssocID="{BA6FF226-3807-2346-A740-CE3E60981FB3}" presName="rootConnector" presStyleLbl="node3" presStyleIdx="3" presStyleCnt="18"/>
      <dgm:spPr/>
      <dgm:t>
        <a:bodyPr/>
        <a:lstStyle/>
        <a:p>
          <a:endParaRPr lang="en-US"/>
        </a:p>
      </dgm:t>
    </dgm:pt>
    <dgm:pt modelId="{175F2BE5-9841-E24D-8258-D4DAB9588C96}" type="pres">
      <dgm:prSet presAssocID="{BA6FF226-3807-2346-A740-CE3E60981FB3}" presName="hierChild4" presStyleCnt="0"/>
      <dgm:spPr/>
    </dgm:pt>
    <dgm:pt modelId="{6C96FA0A-0A57-4A45-A656-B89BDED585EB}" type="pres">
      <dgm:prSet presAssocID="{BA6FF226-3807-2346-A740-CE3E60981FB3}" presName="hierChild5" presStyleCnt="0"/>
      <dgm:spPr/>
    </dgm:pt>
    <dgm:pt modelId="{6CD5F04D-881E-FF45-840F-9065F725359E}" type="pres">
      <dgm:prSet presAssocID="{537E3EB2-8400-9F46-8E14-018A525A6F13}" presName="Name37" presStyleLbl="parChTrans1D3" presStyleIdx="4" presStyleCnt="18" custSzY="3936388"/>
      <dgm:spPr/>
      <dgm:t>
        <a:bodyPr/>
        <a:lstStyle/>
        <a:p>
          <a:endParaRPr lang="en-US"/>
        </a:p>
      </dgm:t>
    </dgm:pt>
    <dgm:pt modelId="{EEB1F1F6-A420-3B4D-83C3-44A0874B3872}" type="pres">
      <dgm:prSet presAssocID="{8C2CA5B6-6500-9D43-9984-AE6727A18F74}" presName="hierRoot2" presStyleCnt="0">
        <dgm:presLayoutVars>
          <dgm:hierBranch val="init"/>
        </dgm:presLayoutVars>
      </dgm:prSet>
      <dgm:spPr/>
    </dgm:pt>
    <dgm:pt modelId="{866BA078-C3D3-2F4C-A7CC-2903AAEBC56E}" type="pres">
      <dgm:prSet presAssocID="{8C2CA5B6-6500-9D43-9984-AE6727A18F74}" presName="rootComposite" presStyleCnt="0"/>
      <dgm:spPr/>
    </dgm:pt>
    <dgm:pt modelId="{35471471-CB84-0746-BDD4-1655B6C5471A}" type="pres">
      <dgm:prSet presAssocID="{8C2CA5B6-6500-9D43-9984-AE6727A18F74}" presName="rootText" presStyleLbl="node3" presStyleIdx="4" presStyleCnt="18" custScaleY="163289">
        <dgm:presLayoutVars>
          <dgm:chPref val="3"/>
        </dgm:presLayoutVars>
      </dgm:prSet>
      <dgm:spPr>
        <a:prstGeom prst="roundRect">
          <a:avLst/>
        </a:prstGeom>
      </dgm:spPr>
      <dgm:t>
        <a:bodyPr/>
        <a:lstStyle/>
        <a:p>
          <a:endParaRPr lang="en-US"/>
        </a:p>
      </dgm:t>
    </dgm:pt>
    <dgm:pt modelId="{BF48F31E-442A-8542-BEC6-8A1283ECC0DC}" type="pres">
      <dgm:prSet presAssocID="{8C2CA5B6-6500-9D43-9984-AE6727A18F74}" presName="rootConnector" presStyleLbl="node3" presStyleIdx="4" presStyleCnt="18"/>
      <dgm:spPr/>
      <dgm:t>
        <a:bodyPr/>
        <a:lstStyle/>
        <a:p>
          <a:endParaRPr lang="en-US"/>
        </a:p>
      </dgm:t>
    </dgm:pt>
    <dgm:pt modelId="{2F554D91-DC1D-3A4B-BD01-7DD0FBADA47A}" type="pres">
      <dgm:prSet presAssocID="{8C2CA5B6-6500-9D43-9984-AE6727A18F74}" presName="hierChild4" presStyleCnt="0"/>
      <dgm:spPr/>
    </dgm:pt>
    <dgm:pt modelId="{5C57C97C-2160-274D-A8EF-85D36B4657F0}" type="pres">
      <dgm:prSet presAssocID="{8C2CA5B6-6500-9D43-9984-AE6727A18F74}" presName="hierChild5" presStyleCnt="0"/>
      <dgm:spPr/>
    </dgm:pt>
    <dgm:pt modelId="{2DC6FEB6-D342-A148-B4E4-3574392637D2}" type="pres">
      <dgm:prSet presAssocID="{7085B25D-4135-BC43-B854-9EAACE03C079}" presName="Name37" presStyleLbl="parChTrans1D3" presStyleIdx="5" presStyleCnt="18" custSzY="6370837"/>
      <dgm:spPr/>
      <dgm:t>
        <a:bodyPr/>
        <a:lstStyle/>
        <a:p>
          <a:endParaRPr lang="en-US"/>
        </a:p>
      </dgm:t>
    </dgm:pt>
    <dgm:pt modelId="{E7C14A77-D7F1-1E41-9F22-78FC6F14D5DD}" type="pres">
      <dgm:prSet presAssocID="{338A4ADE-7A0B-DA46-A749-6378547614AE}" presName="hierRoot2" presStyleCnt="0">
        <dgm:presLayoutVars>
          <dgm:hierBranch val="init"/>
        </dgm:presLayoutVars>
      </dgm:prSet>
      <dgm:spPr/>
    </dgm:pt>
    <dgm:pt modelId="{345D217C-C154-0B4F-9496-F18800B28FFF}" type="pres">
      <dgm:prSet presAssocID="{338A4ADE-7A0B-DA46-A749-6378547614AE}" presName="rootComposite" presStyleCnt="0"/>
      <dgm:spPr/>
    </dgm:pt>
    <dgm:pt modelId="{9276651D-6194-EA49-8E09-02C1BFFFA9D5}" type="pres">
      <dgm:prSet presAssocID="{338A4ADE-7A0B-DA46-A749-6378547614AE}" presName="rootText" presStyleLbl="node3" presStyleIdx="5" presStyleCnt="18" custScaleY="163289">
        <dgm:presLayoutVars>
          <dgm:chPref val="3"/>
        </dgm:presLayoutVars>
      </dgm:prSet>
      <dgm:spPr>
        <a:prstGeom prst="roundRect">
          <a:avLst/>
        </a:prstGeom>
      </dgm:spPr>
      <dgm:t>
        <a:bodyPr/>
        <a:lstStyle/>
        <a:p>
          <a:endParaRPr lang="en-US"/>
        </a:p>
      </dgm:t>
    </dgm:pt>
    <dgm:pt modelId="{CD5ED238-8A46-9548-AD80-16CB05272A14}" type="pres">
      <dgm:prSet presAssocID="{338A4ADE-7A0B-DA46-A749-6378547614AE}" presName="rootConnector" presStyleLbl="node3" presStyleIdx="5" presStyleCnt="18"/>
      <dgm:spPr/>
      <dgm:t>
        <a:bodyPr/>
        <a:lstStyle/>
        <a:p>
          <a:endParaRPr lang="en-US"/>
        </a:p>
      </dgm:t>
    </dgm:pt>
    <dgm:pt modelId="{BDC06036-AFEF-8F4C-A1E3-0138032EDE75}" type="pres">
      <dgm:prSet presAssocID="{338A4ADE-7A0B-DA46-A749-6378547614AE}" presName="hierChild4" presStyleCnt="0"/>
      <dgm:spPr/>
    </dgm:pt>
    <dgm:pt modelId="{F44A321D-F93F-1847-9AAA-56093CB8396B}" type="pres">
      <dgm:prSet presAssocID="{338A4ADE-7A0B-DA46-A749-6378547614AE}" presName="hierChild5" presStyleCnt="0"/>
      <dgm:spPr/>
    </dgm:pt>
    <dgm:pt modelId="{E7AD0A5D-E521-4D48-A5EC-9A4A203AF9D4}" type="pres">
      <dgm:prSet presAssocID="{C70D9AAD-288E-0B4A-A4D2-9169EEB4C5EF}" presName="hierChild5" presStyleCnt="0"/>
      <dgm:spPr/>
    </dgm:pt>
    <dgm:pt modelId="{910491EA-604E-6842-9866-DF2E9CD33930}" type="pres">
      <dgm:prSet presAssocID="{F35DDD95-A0E8-D04C-90F4-7D2AE6A0AF8D}" presName="Name37" presStyleLbl="parChTrans1D2" presStyleIdx="2" presStyleCnt="6" custSzY="569430"/>
      <dgm:spPr/>
      <dgm:t>
        <a:bodyPr/>
        <a:lstStyle/>
        <a:p>
          <a:endParaRPr lang="en-US"/>
        </a:p>
      </dgm:t>
    </dgm:pt>
    <dgm:pt modelId="{4F6E76D3-53FC-9B40-84F9-F7C25AED53E4}" type="pres">
      <dgm:prSet presAssocID="{5B4F3E0D-971E-3647-86E4-6868F203DC2B}" presName="hierRoot2" presStyleCnt="0">
        <dgm:presLayoutVars>
          <dgm:hierBranch val="init"/>
        </dgm:presLayoutVars>
      </dgm:prSet>
      <dgm:spPr/>
    </dgm:pt>
    <dgm:pt modelId="{71838188-1DD8-7345-B5E8-F0FD31F9988C}" type="pres">
      <dgm:prSet presAssocID="{5B4F3E0D-971E-3647-86E4-6868F203DC2B}" presName="rootComposite" presStyleCnt="0"/>
      <dgm:spPr/>
    </dgm:pt>
    <dgm:pt modelId="{C98D4C05-6DFD-F848-8831-CA53C562EFA9}" type="pres">
      <dgm:prSet presAssocID="{5B4F3E0D-971E-3647-86E4-6868F203DC2B}" presName="rootText" presStyleLbl="node2" presStyleIdx="2" presStyleCnt="6" custScaleX="122545" custScaleY="163289">
        <dgm:presLayoutVars>
          <dgm:chPref val="3"/>
        </dgm:presLayoutVars>
      </dgm:prSet>
      <dgm:spPr>
        <a:prstGeom prst="roundRect">
          <a:avLst/>
        </a:prstGeom>
      </dgm:spPr>
      <dgm:t>
        <a:bodyPr/>
        <a:lstStyle/>
        <a:p>
          <a:endParaRPr lang="en-US"/>
        </a:p>
      </dgm:t>
    </dgm:pt>
    <dgm:pt modelId="{8249A152-56BE-E046-8A45-0C56C7C1D191}" type="pres">
      <dgm:prSet presAssocID="{5B4F3E0D-971E-3647-86E4-6868F203DC2B}" presName="rootConnector" presStyleLbl="node2" presStyleIdx="2" presStyleCnt="6"/>
      <dgm:spPr/>
      <dgm:t>
        <a:bodyPr/>
        <a:lstStyle/>
        <a:p>
          <a:endParaRPr lang="en-US"/>
        </a:p>
      </dgm:t>
    </dgm:pt>
    <dgm:pt modelId="{936D50A9-CCB4-4945-945B-85E46E6A9010}" type="pres">
      <dgm:prSet presAssocID="{5B4F3E0D-971E-3647-86E4-6868F203DC2B}" presName="hierChild4" presStyleCnt="0"/>
      <dgm:spPr/>
    </dgm:pt>
    <dgm:pt modelId="{D62CB30F-6901-594F-8775-B46F34227BC9}" type="pres">
      <dgm:prSet presAssocID="{7FF81494-F22E-3B4A-AE0B-9C51C4A0F12C}" presName="Name37" presStyleLbl="parChTrans1D3" presStyleIdx="6" presStyleCnt="18" custSzY="1501939"/>
      <dgm:spPr/>
      <dgm:t>
        <a:bodyPr/>
        <a:lstStyle/>
        <a:p>
          <a:endParaRPr lang="en-US"/>
        </a:p>
      </dgm:t>
    </dgm:pt>
    <dgm:pt modelId="{2A1E62F8-D51C-B44A-BD70-E6C65A68DCCB}" type="pres">
      <dgm:prSet presAssocID="{1A5ABF02-3DC0-3F46-89A6-D4A83DB904D1}" presName="hierRoot2" presStyleCnt="0">
        <dgm:presLayoutVars>
          <dgm:hierBranch val="init"/>
        </dgm:presLayoutVars>
      </dgm:prSet>
      <dgm:spPr/>
    </dgm:pt>
    <dgm:pt modelId="{F9703759-1D98-084A-B066-79D5FA0B0817}" type="pres">
      <dgm:prSet presAssocID="{1A5ABF02-3DC0-3F46-89A6-D4A83DB904D1}" presName="rootComposite" presStyleCnt="0"/>
      <dgm:spPr/>
    </dgm:pt>
    <dgm:pt modelId="{7AAAE15D-9C55-1D43-B8B7-B04F0D48EABD}" type="pres">
      <dgm:prSet presAssocID="{1A5ABF02-3DC0-3F46-89A6-D4A83DB904D1}" presName="rootText" presStyleLbl="node3" presStyleIdx="6" presStyleCnt="18" custScaleY="163289">
        <dgm:presLayoutVars>
          <dgm:chPref val="3"/>
        </dgm:presLayoutVars>
      </dgm:prSet>
      <dgm:spPr>
        <a:prstGeom prst="roundRect">
          <a:avLst/>
        </a:prstGeom>
      </dgm:spPr>
      <dgm:t>
        <a:bodyPr/>
        <a:lstStyle/>
        <a:p>
          <a:endParaRPr lang="en-US"/>
        </a:p>
      </dgm:t>
    </dgm:pt>
    <dgm:pt modelId="{C8CB1346-EB34-094E-8B3A-28042614FB03}" type="pres">
      <dgm:prSet presAssocID="{1A5ABF02-3DC0-3F46-89A6-D4A83DB904D1}" presName="rootConnector" presStyleLbl="node3" presStyleIdx="6" presStyleCnt="18"/>
      <dgm:spPr/>
      <dgm:t>
        <a:bodyPr/>
        <a:lstStyle/>
        <a:p>
          <a:endParaRPr lang="en-US"/>
        </a:p>
      </dgm:t>
    </dgm:pt>
    <dgm:pt modelId="{C07159A7-2612-CB43-B1EE-FC2609E7E9AD}" type="pres">
      <dgm:prSet presAssocID="{1A5ABF02-3DC0-3F46-89A6-D4A83DB904D1}" presName="hierChild4" presStyleCnt="0"/>
      <dgm:spPr/>
    </dgm:pt>
    <dgm:pt modelId="{B9C12C8A-E3B4-7940-B9D7-DB49D619BCB5}" type="pres">
      <dgm:prSet presAssocID="{1A5ABF02-3DC0-3F46-89A6-D4A83DB904D1}" presName="hierChild5" presStyleCnt="0"/>
      <dgm:spPr/>
    </dgm:pt>
    <dgm:pt modelId="{129F0079-A483-7E48-A321-97C36DBA0475}" type="pres">
      <dgm:prSet presAssocID="{76C0524B-EDDB-FA4A-A6A1-2FDCA1EEFA25}" presName="Name37" presStyleLbl="parChTrans1D3" presStyleIdx="7" presStyleCnt="18" custSzY="3936388"/>
      <dgm:spPr/>
      <dgm:t>
        <a:bodyPr/>
        <a:lstStyle/>
        <a:p>
          <a:endParaRPr lang="en-US"/>
        </a:p>
      </dgm:t>
    </dgm:pt>
    <dgm:pt modelId="{505AFEB6-44FD-0948-86B1-1EBBFB7AD6E8}" type="pres">
      <dgm:prSet presAssocID="{11B5AD18-48FD-6A4B-A82C-B8D0882BDFD5}" presName="hierRoot2" presStyleCnt="0">
        <dgm:presLayoutVars>
          <dgm:hierBranch val="init"/>
        </dgm:presLayoutVars>
      </dgm:prSet>
      <dgm:spPr/>
    </dgm:pt>
    <dgm:pt modelId="{898B3C27-79E5-B94F-AB28-34998FE8B917}" type="pres">
      <dgm:prSet presAssocID="{11B5AD18-48FD-6A4B-A82C-B8D0882BDFD5}" presName="rootComposite" presStyleCnt="0"/>
      <dgm:spPr/>
    </dgm:pt>
    <dgm:pt modelId="{7C50BECD-9391-C544-9079-7DCA06B1B106}" type="pres">
      <dgm:prSet presAssocID="{11B5AD18-48FD-6A4B-A82C-B8D0882BDFD5}" presName="rootText" presStyleLbl="node3" presStyleIdx="7" presStyleCnt="18" custScaleY="163289">
        <dgm:presLayoutVars>
          <dgm:chPref val="3"/>
        </dgm:presLayoutVars>
      </dgm:prSet>
      <dgm:spPr>
        <a:prstGeom prst="roundRect">
          <a:avLst/>
        </a:prstGeom>
      </dgm:spPr>
      <dgm:t>
        <a:bodyPr/>
        <a:lstStyle/>
        <a:p>
          <a:endParaRPr lang="en-US"/>
        </a:p>
      </dgm:t>
    </dgm:pt>
    <dgm:pt modelId="{35D57237-8BFB-E945-A7A7-3C3A20E1DD9C}" type="pres">
      <dgm:prSet presAssocID="{11B5AD18-48FD-6A4B-A82C-B8D0882BDFD5}" presName="rootConnector" presStyleLbl="node3" presStyleIdx="7" presStyleCnt="18"/>
      <dgm:spPr/>
      <dgm:t>
        <a:bodyPr/>
        <a:lstStyle/>
        <a:p>
          <a:endParaRPr lang="en-US"/>
        </a:p>
      </dgm:t>
    </dgm:pt>
    <dgm:pt modelId="{9742A4E0-8FBD-7543-97A8-E98A936FD000}" type="pres">
      <dgm:prSet presAssocID="{11B5AD18-48FD-6A4B-A82C-B8D0882BDFD5}" presName="hierChild4" presStyleCnt="0"/>
      <dgm:spPr/>
    </dgm:pt>
    <dgm:pt modelId="{7BE38307-1708-2D4C-8A04-E67A64FA40B2}" type="pres">
      <dgm:prSet presAssocID="{11B5AD18-48FD-6A4B-A82C-B8D0882BDFD5}" presName="hierChild5" presStyleCnt="0"/>
      <dgm:spPr/>
    </dgm:pt>
    <dgm:pt modelId="{5030E2EE-B0D1-364F-B6DF-876E246B6AE1}" type="pres">
      <dgm:prSet presAssocID="{EFC072AF-A0F9-2340-A2B6-3F5834C6C0F3}" presName="Name37" presStyleLbl="parChTrans1D3" presStyleIdx="8" presStyleCnt="18" custSzY="6370837"/>
      <dgm:spPr/>
      <dgm:t>
        <a:bodyPr/>
        <a:lstStyle/>
        <a:p>
          <a:endParaRPr lang="en-US"/>
        </a:p>
      </dgm:t>
    </dgm:pt>
    <dgm:pt modelId="{3BF92A3B-B68B-8F4A-ACDB-61F48235A59F}" type="pres">
      <dgm:prSet presAssocID="{1DF3C01B-2614-5C42-80DD-7422BFA9073B}" presName="hierRoot2" presStyleCnt="0">
        <dgm:presLayoutVars>
          <dgm:hierBranch val="init"/>
        </dgm:presLayoutVars>
      </dgm:prSet>
      <dgm:spPr/>
    </dgm:pt>
    <dgm:pt modelId="{B998F742-4147-FB46-B213-304B069DACB0}" type="pres">
      <dgm:prSet presAssocID="{1DF3C01B-2614-5C42-80DD-7422BFA9073B}" presName="rootComposite" presStyleCnt="0"/>
      <dgm:spPr/>
    </dgm:pt>
    <dgm:pt modelId="{C8DB6E88-65AB-3947-BF5E-D30F973C203C}" type="pres">
      <dgm:prSet presAssocID="{1DF3C01B-2614-5C42-80DD-7422BFA9073B}" presName="rootText" presStyleLbl="node3" presStyleIdx="8" presStyleCnt="18" custScaleY="163289">
        <dgm:presLayoutVars>
          <dgm:chPref val="3"/>
        </dgm:presLayoutVars>
      </dgm:prSet>
      <dgm:spPr>
        <a:prstGeom prst="roundRect">
          <a:avLst/>
        </a:prstGeom>
      </dgm:spPr>
      <dgm:t>
        <a:bodyPr/>
        <a:lstStyle/>
        <a:p>
          <a:endParaRPr lang="en-US"/>
        </a:p>
      </dgm:t>
    </dgm:pt>
    <dgm:pt modelId="{62108426-B799-194D-AB78-22283909E5A2}" type="pres">
      <dgm:prSet presAssocID="{1DF3C01B-2614-5C42-80DD-7422BFA9073B}" presName="rootConnector" presStyleLbl="node3" presStyleIdx="8" presStyleCnt="18"/>
      <dgm:spPr/>
      <dgm:t>
        <a:bodyPr/>
        <a:lstStyle/>
        <a:p>
          <a:endParaRPr lang="en-US"/>
        </a:p>
      </dgm:t>
    </dgm:pt>
    <dgm:pt modelId="{60AB16CA-A0FA-E548-A598-8F4F677A192B}" type="pres">
      <dgm:prSet presAssocID="{1DF3C01B-2614-5C42-80DD-7422BFA9073B}" presName="hierChild4" presStyleCnt="0"/>
      <dgm:spPr/>
    </dgm:pt>
    <dgm:pt modelId="{360B2E77-F622-5945-8392-2B887285C669}" type="pres">
      <dgm:prSet presAssocID="{1DF3C01B-2614-5C42-80DD-7422BFA9073B}" presName="hierChild5" presStyleCnt="0"/>
      <dgm:spPr/>
    </dgm:pt>
    <dgm:pt modelId="{0E88A329-C564-C840-B127-2181CD7549E6}" type="pres">
      <dgm:prSet presAssocID="{5B4F3E0D-971E-3647-86E4-6868F203DC2B}" presName="hierChild5" presStyleCnt="0"/>
      <dgm:spPr/>
    </dgm:pt>
    <dgm:pt modelId="{323D0151-0AF0-7A44-BCE6-C10462839127}" type="pres">
      <dgm:prSet presAssocID="{4BB222BF-BE28-4C47-9A72-39286C322445}" presName="Name37" presStyleLbl="parChTrans1D2" presStyleIdx="3" presStyleCnt="6" custSzY="569430"/>
      <dgm:spPr/>
      <dgm:t>
        <a:bodyPr/>
        <a:lstStyle/>
        <a:p>
          <a:endParaRPr lang="en-US"/>
        </a:p>
      </dgm:t>
    </dgm:pt>
    <dgm:pt modelId="{C0502B14-1B52-7042-ACC0-DA1514170E49}" type="pres">
      <dgm:prSet presAssocID="{49CB4C51-4B03-F94A-A9CC-2536C8F9270F}" presName="hierRoot2" presStyleCnt="0">
        <dgm:presLayoutVars>
          <dgm:hierBranch val="init"/>
        </dgm:presLayoutVars>
      </dgm:prSet>
      <dgm:spPr/>
    </dgm:pt>
    <dgm:pt modelId="{124E14D1-547A-F840-A53B-8C32D7C0E093}" type="pres">
      <dgm:prSet presAssocID="{49CB4C51-4B03-F94A-A9CC-2536C8F9270F}" presName="rootComposite" presStyleCnt="0"/>
      <dgm:spPr/>
    </dgm:pt>
    <dgm:pt modelId="{F63DB975-E825-ED40-9ED5-8EF8047133DC}" type="pres">
      <dgm:prSet presAssocID="{49CB4C51-4B03-F94A-A9CC-2536C8F9270F}" presName="rootText" presStyleLbl="node2" presStyleIdx="3" presStyleCnt="6" custScaleX="122545" custScaleY="163289">
        <dgm:presLayoutVars>
          <dgm:chPref val="3"/>
        </dgm:presLayoutVars>
      </dgm:prSet>
      <dgm:spPr>
        <a:prstGeom prst="roundRect">
          <a:avLst/>
        </a:prstGeom>
      </dgm:spPr>
      <dgm:t>
        <a:bodyPr/>
        <a:lstStyle/>
        <a:p>
          <a:endParaRPr lang="en-US"/>
        </a:p>
      </dgm:t>
    </dgm:pt>
    <dgm:pt modelId="{448BE257-6BD3-154B-8455-7442213A9C1F}" type="pres">
      <dgm:prSet presAssocID="{49CB4C51-4B03-F94A-A9CC-2536C8F9270F}" presName="rootConnector" presStyleLbl="node2" presStyleIdx="3" presStyleCnt="6"/>
      <dgm:spPr/>
      <dgm:t>
        <a:bodyPr/>
        <a:lstStyle/>
        <a:p>
          <a:endParaRPr lang="en-US"/>
        </a:p>
      </dgm:t>
    </dgm:pt>
    <dgm:pt modelId="{068F8C37-46EE-4847-A292-C25509F10E4F}" type="pres">
      <dgm:prSet presAssocID="{49CB4C51-4B03-F94A-A9CC-2536C8F9270F}" presName="hierChild4" presStyleCnt="0"/>
      <dgm:spPr/>
    </dgm:pt>
    <dgm:pt modelId="{7B5B0F12-5DDA-9943-9092-2A10F2FE9601}" type="pres">
      <dgm:prSet presAssocID="{964A5E62-97E7-C048-9268-0DD949F4134F}" presName="Name37" presStyleLbl="parChTrans1D3" presStyleIdx="9" presStyleCnt="18" custSzY="1501939"/>
      <dgm:spPr/>
      <dgm:t>
        <a:bodyPr/>
        <a:lstStyle/>
        <a:p>
          <a:endParaRPr lang="en-US"/>
        </a:p>
      </dgm:t>
    </dgm:pt>
    <dgm:pt modelId="{416A776B-95CC-6242-82B8-F3477537D01B}" type="pres">
      <dgm:prSet presAssocID="{14A9B10A-492B-F046-AA45-A18CECB57509}" presName="hierRoot2" presStyleCnt="0">
        <dgm:presLayoutVars>
          <dgm:hierBranch val="init"/>
        </dgm:presLayoutVars>
      </dgm:prSet>
      <dgm:spPr/>
    </dgm:pt>
    <dgm:pt modelId="{B3872BE2-32B6-FA4E-AD30-FDDA357E030B}" type="pres">
      <dgm:prSet presAssocID="{14A9B10A-492B-F046-AA45-A18CECB57509}" presName="rootComposite" presStyleCnt="0"/>
      <dgm:spPr/>
    </dgm:pt>
    <dgm:pt modelId="{BD45870A-B3FE-4649-A1E8-44ABA898ACEB}" type="pres">
      <dgm:prSet presAssocID="{14A9B10A-492B-F046-AA45-A18CECB57509}" presName="rootText" presStyleLbl="node3" presStyleIdx="9" presStyleCnt="18" custScaleY="163289">
        <dgm:presLayoutVars>
          <dgm:chPref val="3"/>
        </dgm:presLayoutVars>
      </dgm:prSet>
      <dgm:spPr>
        <a:prstGeom prst="roundRect">
          <a:avLst/>
        </a:prstGeom>
      </dgm:spPr>
      <dgm:t>
        <a:bodyPr/>
        <a:lstStyle/>
        <a:p>
          <a:endParaRPr lang="en-US"/>
        </a:p>
      </dgm:t>
    </dgm:pt>
    <dgm:pt modelId="{6D27B739-9A5A-FE45-BC1E-B91110B18E69}" type="pres">
      <dgm:prSet presAssocID="{14A9B10A-492B-F046-AA45-A18CECB57509}" presName="rootConnector" presStyleLbl="node3" presStyleIdx="9" presStyleCnt="18"/>
      <dgm:spPr/>
      <dgm:t>
        <a:bodyPr/>
        <a:lstStyle/>
        <a:p>
          <a:endParaRPr lang="en-US"/>
        </a:p>
      </dgm:t>
    </dgm:pt>
    <dgm:pt modelId="{E0AA5810-09FE-6F49-9E01-C37893D5B99E}" type="pres">
      <dgm:prSet presAssocID="{14A9B10A-492B-F046-AA45-A18CECB57509}" presName="hierChild4" presStyleCnt="0"/>
      <dgm:spPr/>
    </dgm:pt>
    <dgm:pt modelId="{67B38412-62E0-F041-A9A6-EEB827EE7287}" type="pres">
      <dgm:prSet presAssocID="{14A9B10A-492B-F046-AA45-A18CECB57509}" presName="hierChild5" presStyleCnt="0"/>
      <dgm:spPr/>
    </dgm:pt>
    <dgm:pt modelId="{4C9BEE53-E580-D245-BCCD-590C85D76065}" type="pres">
      <dgm:prSet presAssocID="{7D0C8FC0-2822-5146-86DC-E862D57D28F7}" presName="Name37" presStyleLbl="parChTrans1D3" presStyleIdx="10" presStyleCnt="18" custSzY="3936388"/>
      <dgm:spPr/>
      <dgm:t>
        <a:bodyPr/>
        <a:lstStyle/>
        <a:p>
          <a:endParaRPr lang="en-US"/>
        </a:p>
      </dgm:t>
    </dgm:pt>
    <dgm:pt modelId="{084F8B06-8855-B74B-A705-6E163C44E754}" type="pres">
      <dgm:prSet presAssocID="{D388754C-8CDF-944F-81D9-734A1D624DE5}" presName="hierRoot2" presStyleCnt="0">
        <dgm:presLayoutVars>
          <dgm:hierBranch val="init"/>
        </dgm:presLayoutVars>
      </dgm:prSet>
      <dgm:spPr/>
    </dgm:pt>
    <dgm:pt modelId="{9EA94B24-EF62-6646-8B44-17764E9A462E}" type="pres">
      <dgm:prSet presAssocID="{D388754C-8CDF-944F-81D9-734A1D624DE5}" presName="rootComposite" presStyleCnt="0"/>
      <dgm:spPr/>
    </dgm:pt>
    <dgm:pt modelId="{667C8B84-66F0-D04D-AF88-0F329C747158}" type="pres">
      <dgm:prSet presAssocID="{D388754C-8CDF-944F-81D9-734A1D624DE5}" presName="rootText" presStyleLbl="node3" presStyleIdx="10" presStyleCnt="18" custScaleY="163289">
        <dgm:presLayoutVars>
          <dgm:chPref val="3"/>
        </dgm:presLayoutVars>
      </dgm:prSet>
      <dgm:spPr>
        <a:prstGeom prst="roundRect">
          <a:avLst/>
        </a:prstGeom>
      </dgm:spPr>
      <dgm:t>
        <a:bodyPr/>
        <a:lstStyle/>
        <a:p>
          <a:endParaRPr lang="en-US"/>
        </a:p>
      </dgm:t>
    </dgm:pt>
    <dgm:pt modelId="{C032D471-E31D-BF47-90BC-0B75D3183438}" type="pres">
      <dgm:prSet presAssocID="{D388754C-8CDF-944F-81D9-734A1D624DE5}" presName="rootConnector" presStyleLbl="node3" presStyleIdx="10" presStyleCnt="18"/>
      <dgm:spPr/>
      <dgm:t>
        <a:bodyPr/>
        <a:lstStyle/>
        <a:p>
          <a:endParaRPr lang="en-US"/>
        </a:p>
      </dgm:t>
    </dgm:pt>
    <dgm:pt modelId="{50D7A7D7-B247-0241-B930-203B902594B5}" type="pres">
      <dgm:prSet presAssocID="{D388754C-8CDF-944F-81D9-734A1D624DE5}" presName="hierChild4" presStyleCnt="0"/>
      <dgm:spPr/>
    </dgm:pt>
    <dgm:pt modelId="{6067EBE2-5843-6D4C-941B-5FB3692E75F9}" type="pres">
      <dgm:prSet presAssocID="{D388754C-8CDF-944F-81D9-734A1D624DE5}" presName="hierChild5" presStyleCnt="0"/>
      <dgm:spPr/>
    </dgm:pt>
    <dgm:pt modelId="{EBF62F60-4DCC-6C46-AE65-EDFFE870F1F4}" type="pres">
      <dgm:prSet presAssocID="{BEEC9641-8114-8F4D-8D80-33DB53450849}" presName="Name37" presStyleLbl="parChTrans1D3" presStyleIdx="11" presStyleCnt="18" custSzY="6370837"/>
      <dgm:spPr/>
      <dgm:t>
        <a:bodyPr/>
        <a:lstStyle/>
        <a:p>
          <a:endParaRPr lang="en-US"/>
        </a:p>
      </dgm:t>
    </dgm:pt>
    <dgm:pt modelId="{93533B26-364F-014E-A891-6D8442BBCE18}" type="pres">
      <dgm:prSet presAssocID="{5959550F-67B9-B04E-91C4-902A91EFE7E5}" presName="hierRoot2" presStyleCnt="0">
        <dgm:presLayoutVars>
          <dgm:hierBranch val="init"/>
        </dgm:presLayoutVars>
      </dgm:prSet>
      <dgm:spPr/>
    </dgm:pt>
    <dgm:pt modelId="{DB4AF111-B912-8448-ABAC-05FC566DF87E}" type="pres">
      <dgm:prSet presAssocID="{5959550F-67B9-B04E-91C4-902A91EFE7E5}" presName="rootComposite" presStyleCnt="0"/>
      <dgm:spPr/>
    </dgm:pt>
    <dgm:pt modelId="{0B86221D-B7E4-B74C-ACB9-8C43A9AE47F7}" type="pres">
      <dgm:prSet presAssocID="{5959550F-67B9-B04E-91C4-902A91EFE7E5}" presName="rootText" presStyleLbl="node3" presStyleIdx="11" presStyleCnt="18" custScaleY="163289">
        <dgm:presLayoutVars>
          <dgm:chPref val="3"/>
        </dgm:presLayoutVars>
      </dgm:prSet>
      <dgm:spPr>
        <a:prstGeom prst="roundRect">
          <a:avLst/>
        </a:prstGeom>
      </dgm:spPr>
      <dgm:t>
        <a:bodyPr/>
        <a:lstStyle/>
        <a:p>
          <a:endParaRPr lang="en-US"/>
        </a:p>
      </dgm:t>
    </dgm:pt>
    <dgm:pt modelId="{B9CC71A5-3834-534E-9ECE-601DD70734B2}" type="pres">
      <dgm:prSet presAssocID="{5959550F-67B9-B04E-91C4-902A91EFE7E5}" presName="rootConnector" presStyleLbl="node3" presStyleIdx="11" presStyleCnt="18"/>
      <dgm:spPr/>
      <dgm:t>
        <a:bodyPr/>
        <a:lstStyle/>
        <a:p>
          <a:endParaRPr lang="en-US"/>
        </a:p>
      </dgm:t>
    </dgm:pt>
    <dgm:pt modelId="{22A0A11E-34BD-0442-BCA0-44161B492947}" type="pres">
      <dgm:prSet presAssocID="{5959550F-67B9-B04E-91C4-902A91EFE7E5}" presName="hierChild4" presStyleCnt="0"/>
      <dgm:spPr/>
    </dgm:pt>
    <dgm:pt modelId="{A1799FD4-5B2F-1C41-B7C0-8BBFCD6F98DD}" type="pres">
      <dgm:prSet presAssocID="{5959550F-67B9-B04E-91C4-902A91EFE7E5}" presName="hierChild5" presStyleCnt="0"/>
      <dgm:spPr/>
    </dgm:pt>
    <dgm:pt modelId="{9E34D8F1-0307-C841-BE9B-4EB460341C22}" type="pres">
      <dgm:prSet presAssocID="{49CB4C51-4B03-F94A-A9CC-2536C8F9270F}" presName="hierChild5" presStyleCnt="0"/>
      <dgm:spPr/>
    </dgm:pt>
    <dgm:pt modelId="{1480E8B4-F1B6-8246-9806-7D2D0CB68815}" type="pres">
      <dgm:prSet presAssocID="{F409B74A-4849-4F40-B00A-E62D8179565D}" presName="Name37" presStyleLbl="parChTrans1D2" presStyleIdx="4" presStyleCnt="6" custSzY="569430"/>
      <dgm:spPr/>
      <dgm:t>
        <a:bodyPr/>
        <a:lstStyle/>
        <a:p>
          <a:endParaRPr lang="en-US"/>
        </a:p>
      </dgm:t>
    </dgm:pt>
    <dgm:pt modelId="{38784AEE-09B7-0C47-8227-D02D0F1EDC40}" type="pres">
      <dgm:prSet presAssocID="{67FD2AD4-7083-B34B-8AB9-E13081EF86F9}" presName="hierRoot2" presStyleCnt="0">
        <dgm:presLayoutVars>
          <dgm:hierBranch val="init"/>
        </dgm:presLayoutVars>
      </dgm:prSet>
      <dgm:spPr/>
    </dgm:pt>
    <dgm:pt modelId="{1B5211C4-1365-1640-A178-1D467A02D08A}" type="pres">
      <dgm:prSet presAssocID="{67FD2AD4-7083-B34B-8AB9-E13081EF86F9}" presName="rootComposite" presStyleCnt="0"/>
      <dgm:spPr/>
    </dgm:pt>
    <dgm:pt modelId="{572E3CDC-5D66-514E-8912-D04551846EC7}" type="pres">
      <dgm:prSet presAssocID="{67FD2AD4-7083-B34B-8AB9-E13081EF86F9}" presName="rootText" presStyleLbl="node2" presStyleIdx="4" presStyleCnt="6" custScaleX="122545" custScaleY="163289">
        <dgm:presLayoutVars>
          <dgm:chPref val="3"/>
        </dgm:presLayoutVars>
      </dgm:prSet>
      <dgm:spPr>
        <a:prstGeom prst="roundRect">
          <a:avLst/>
        </a:prstGeom>
      </dgm:spPr>
      <dgm:t>
        <a:bodyPr/>
        <a:lstStyle/>
        <a:p>
          <a:endParaRPr lang="en-US"/>
        </a:p>
      </dgm:t>
    </dgm:pt>
    <dgm:pt modelId="{64829248-69CA-0B4E-875C-600221CC892E}" type="pres">
      <dgm:prSet presAssocID="{67FD2AD4-7083-B34B-8AB9-E13081EF86F9}" presName="rootConnector" presStyleLbl="node2" presStyleIdx="4" presStyleCnt="6"/>
      <dgm:spPr/>
      <dgm:t>
        <a:bodyPr/>
        <a:lstStyle/>
        <a:p>
          <a:endParaRPr lang="en-US"/>
        </a:p>
      </dgm:t>
    </dgm:pt>
    <dgm:pt modelId="{EB7C6A82-1BAB-C84F-ABFF-4175D1E01329}" type="pres">
      <dgm:prSet presAssocID="{67FD2AD4-7083-B34B-8AB9-E13081EF86F9}" presName="hierChild4" presStyleCnt="0"/>
      <dgm:spPr/>
    </dgm:pt>
    <dgm:pt modelId="{44F6E45F-C07E-304C-AB67-8E8552A42778}" type="pres">
      <dgm:prSet presAssocID="{D5307D3E-A636-324D-8C3A-9829230BB487}" presName="Name37" presStyleLbl="parChTrans1D3" presStyleIdx="12" presStyleCnt="18" custSzY="1501939"/>
      <dgm:spPr/>
      <dgm:t>
        <a:bodyPr/>
        <a:lstStyle/>
        <a:p>
          <a:endParaRPr lang="en-US"/>
        </a:p>
      </dgm:t>
    </dgm:pt>
    <dgm:pt modelId="{2208A308-1D10-494E-B09E-F544AF8068C3}" type="pres">
      <dgm:prSet presAssocID="{480C2FAB-0A28-DC43-92DE-A584FB0DAE31}" presName="hierRoot2" presStyleCnt="0">
        <dgm:presLayoutVars>
          <dgm:hierBranch val="init"/>
        </dgm:presLayoutVars>
      </dgm:prSet>
      <dgm:spPr/>
    </dgm:pt>
    <dgm:pt modelId="{52F1A2B4-5B26-7844-A417-F9A302DD4377}" type="pres">
      <dgm:prSet presAssocID="{480C2FAB-0A28-DC43-92DE-A584FB0DAE31}" presName="rootComposite" presStyleCnt="0"/>
      <dgm:spPr/>
    </dgm:pt>
    <dgm:pt modelId="{312925C6-1321-8C4D-8ECE-565EBD85AA53}" type="pres">
      <dgm:prSet presAssocID="{480C2FAB-0A28-DC43-92DE-A584FB0DAE31}" presName="rootText" presStyleLbl="node3" presStyleIdx="12" presStyleCnt="18" custScaleY="163289">
        <dgm:presLayoutVars>
          <dgm:chPref val="3"/>
        </dgm:presLayoutVars>
      </dgm:prSet>
      <dgm:spPr>
        <a:prstGeom prst="roundRect">
          <a:avLst/>
        </a:prstGeom>
      </dgm:spPr>
      <dgm:t>
        <a:bodyPr/>
        <a:lstStyle/>
        <a:p>
          <a:endParaRPr lang="en-US"/>
        </a:p>
      </dgm:t>
    </dgm:pt>
    <dgm:pt modelId="{51242648-056D-864F-A823-CF2B10E36DC5}" type="pres">
      <dgm:prSet presAssocID="{480C2FAB-0A28-DC43-92DE-A584FB0DAE31}" presName="rootConnector" presStyleLbl="node3" presStyleIdx="12" presStyleCnt="18"/>
      <dgm:spPr/>
      <dgm:t>
        <a:bodyPr/>
        <a:lstStyle/>
        <a:p>
          <a:endParaRPr lang="en-US"/>
        </a:p>
      </dgm:t>
    </dgm:pt>
    <dgm:pt modelId="{101F8E47-0BE7-944C-B421-13AA797AD0FE}" type="pres">
      <dgm:prSet presAssocID="{480C2FAB-0A28-DC43-92DE-A584FB0DAE31}" presName="hierChild4" presStyleCnt="0"/>
      <dgm:spPr/>
    </dgm:pt>
    <dgm:pt modelId="{63EE6A4D-0BB5-9F46-BC36-0F3CE16A1208}" type="pres">
      <dgm:prSet presAssocID="{480C2FAB-0A28-DC43-92DE-A584FB0DAE31}" presName="hierChild5" presStyleCnt="0"/>
      <dgm:spPr/>
    </dgm:pt>
    <dgm:pt modelId="{6440B106-7C72-9547-AE5A-A590A6A7292B}" type="pres">
      <dgm:prSet presAssocID="{411D2A1A-9B4A-674A-B93D-2C923CBCDFDB}" presName="Name37" presStyleLbl="parChTrans1D3" presStyleIdx="13" presStyleCnt="18" custSzY="3936388"/>
      <dgm:spPr/>
      <dgm:t>
        <a:bodyPr/>
        <a:lstStyle/>
        <a:p>
          <a:endParaRPr lang="en-US"/>
        </a:p>
      </dgm:t>
    </dgm:pt>
    <dgm:pt modelId="{BAC73BF8-8458-2342-9ECA-03ADDC1723E5}" type="pres">
      <dgm:prSet presAssocID="{73C75B63-3273-2346-8A61-65D3F5E8CBC0}" presName="hierRoot2" presStyleCnt="0">
        <dgm:presLayoutVars>
          <dgm:hierBranch val="init"/>
        </dgm:presLayoutVars>
      </dgm:prSet>
      <dgm:spPr/>
    </dgm:pt>
    <dgm:pt modelId="{0C073428-45A6-A444-B614-5DE374C411EB}" type="pres">
      <dgm:prSet presAssocID="{73C75B63-3273-2346-8A61-65D3F5E8CBC0}" presName="rootComposite" presStyleCnt="0"/>
      <dgm:spPr/>
    </dgm:pt>
    <dgm:pt modelId="{96DE10DD-2A27-1E4E-A6B9-8640BCC5A191}" type="pres">
      <dgm:prSet presAssocID="{73C75B63-3273-2346-8A61-65D3F5E8CBC0}" presName="rootText" presStyleLbl="node3" presStyleIdx="13" presStyleCnt="18" custScaleY="163289">
        <dgm:presLayoutVars>
          <dgm:chPref val="3"/>
        </dgm:presLayoutVars>
      </dgm:prSet>
      <dgm:spPr>
        <a:prstGeom prst="roundRect">
          <a:avLst/>
        </a:prstGeom>
      </dgm:spPr>
      <dgm:t>
        <a:bodyPr/>
        <a:lstStyle/>
        <a:p>
          <a:endParaRPr lang="en-US"/>
        </a:p>
      </dgm:t>
    </dgm:pt>
    <dgm:pt modelId="{8F158EFB-F898-3C42-9661-FD99398859DA}" type="pres">
      <dgm:prSet presAssocID="{73C75B63-3273-2346-8A61-65D3F5E8CBC0}" presName="rootConnector" presStyleLbl="node3" presStyleIdx="13" presStyleCnt="18"/>
      <dgm:spPr/>
      <dgm:t>
        <a:bodyPr/>
        <a:lstStyle/>
        <a:p>
          <a:endParaRPr lang="en-US"/>
        </a:p>
      </dgm:t>
    </dgm:pt>
    <dgm:pt modelId="{115DEFFC-01B6-BC42-A789-F0A80147F2CC}" type="pres">
      <dgm:prSet presAssocID="{73C75B63-3273-2346-8A61-65D3F5E8CBC0}" presName="hierChild4" presStyleCnt="0"/>
      <dgm:spPr/>
    </dgm:pt>
    <dgm:pt modelId="{B17F80B3-A6DC-D645-A595-41D80D4CE969}" type="pres">
      <dgm:prSet presAssocID="{73C75B63-3273-2346-8A61-65D3F5E8CBC0}" presName="hierChild5" presStyleCnt="0"/>
      <dgm:spPr/>
    </dgm:pt>
    <dgm:pt modelId="{65969C0C-C4EF-8044-B112-A2052B5FA261}" type="pres">
      <dgm:prSet presAssocID="{3096FC50-CDEA-CD40-A16C-4FE101488966}" presName="Name37" presStyleLbl="parChTrans1D3" presStyleIdx="14" presStyleCnt="18" custSzY="6370837"/>
      <dgm:spPr/>
      <dgm:t>
        <a:bodyPr/>
        <a:lstStyle/>
        <a:p>
          <a:endParaRPr lang="en-US"/>
        </a:p>
      </dgm:t>
    </dgm:pt>
    <dgm:pt modelId="{15CB5C64-C278-794E-82CF-052985D0BE92}" type="pres">
      <dgm:prSet presAssocID="{A53C0CFE-184A-1146-8FA6-FFD39694D4B0}" presName="hierRoot2" presStyleCnt="0">
        <dgm:presLayoutVars>
          <dgm:hierBranch val="init"/>
        </dgm:presLayoutVars>
      </dgm:prSet>
      <dgm:spPr/>
    </dgm:pt>
    <dgm:pt modelId="{BA365489-556A-C940-A00F-72AECC305955}" type="pres">
      <dgm:prSet presAssocID="{A53C0CFE-184A-1146-8FA6-FFD39694D4B0}" presName="rootComposite" presStyleCnt="0"/>
      <dgm:spPr/>
    </dgm:pt>
    <dgm:pt modelId="{210923D2-AC03-0946-B698-462DDD0B6542}" type="pres">
      <dgm:prSet presAssocID="{A53C0CFE-184A-1146-8FA6-FFD39694D4B0}" presName="rootText" presStyleLbl="node3" presStyleIdx="14" presStyleCnt="18" custScaleY="163289">
        <dgm:presLayoutVars>
          <dgm:chPref val="3"/>
        </dgm:presLayoutVars>
      </dgm:prSet>
      <dgm:spPr>
        <a:prstGeom prst="roundRect">
          <a:avLst/>
        </a:prstGeom>
      </dgm:spPr>
      <dgm:t>
        <a:bodyPr/>
        <a:lstStyle/>
        <a:p>
          <a:endParaRPr lang="en-US"/>
        </a:p>
      </dgm:t>
    </dgm:pt>
    <dgm:pt modelId="{2CA7FC21-BB86-E144-A530-0AA3F7C11ADE}" type="pres">
      <dgm:prSet presAssocID="{A53C0CFE-184A-1146-8FA6-FFD39694D4B0}" presName="rootConnector" presStyleLbl="node3" presStyleIdx="14" presStyleCnt="18"/>
      <dgm:spPr/>
      <dgm:t>
        <a:bodyPr/>
        <a:lstStyle/>
        <a:p>
          <a:endParaRPr lang="en-US"/>
        </a:p>
      </dgm:t>
    </dgm:pt>
    <dgm:pt modelId="{AB10E984-B840-EA4C-B0FD-663FD1FBE1EE}" type="pres">
      <dgm:prSet presAssocID="{A53C0CFE-184A-1146-8FA6-FFD39694D4B0}" presName="hierChild4" presStyleCnt="0"/>
      <dgm:spPr/>
    </dgm:pt>
    <dgm:pt modelId="{A0B7D572-0CBF-904A-8189-72905D552A09}" type="pres">
      <dgm:prSet presAssocID="{A53C0CFE-184A-1146-8FA6-FFD39694D4B0}" presName="hierChild5" presStyleCnt="0"/>
      <dgm:spPr/>
    </dgm:pt>
    <dgm:pt modelId="{0D4ABEBA-7F67-174B-9D14-25EB0F873638}" type="pres">
      <dgm:prSet presAssocID="{67FD2AD4-7083-B34B-8AB9-E13081EF86F9}" presName="hierChild5" presStyleCnt="0"/>
      <dgm:spPr/>
    </dgm:pt>
    <dgm:pt modelId="{FD0BC2B8-08A5-504D-8B97-A8DFE6F2353D}" type="pres">
      <dgm:prSet presAssocID="{E110FCDD-5DD2-7A49-B84B-225145A8853A}" presName="Name37" presStyleLbl="parChTrans1D2" presStyleIdx="5" presStyleCnt="6" custSzY="569430"/>
      <dgm:spPr/>
      <dgm:t>
        <a:bodyPr/>
        <a:lstStyle/>
        <a:p>
          <a:endParaRPr lang="en-US"/>
        </a:p>
      </dgm:t>
    </dgm:pt>
    <dgm:pt modelId="{4D65A84D-8A4B-FF46-8FC4-DF9823B8C901}" type="pres">
      <dgm:prSet presAssocID="{D069104F-4C0B-3147-953F-A5D93E0C8F12}" presName="hierRoot2" presStyleCnt="0">
        <dgm:presLayoutVars>
          <dgm:hierBranch val="init"/>
        </dgm:presLayoutVars>
      </dgm:prSet>
      <dgm:spPr/>
    </dgm:pt>
    <dgm:pt modelId="{03C01BD0-EEC3-1044-9FF9-FA46EBEE4A5A}" type="pres">
      <dgm:prSet presAssocID="{D069104F-4C0B-3147-953F-A5D93E0C8F12}" presName="rootComposite" presStyleCnt="0"/>
      <dgm:spPr/>
    </dgm:pt>
    <dgm:pt modelId="{0FE69002-AB56-3740-A6BE-C29542137A47}" type="pres">
      <dgm:prSet presAssocID="{D069104F-4C0B-3147-953F-A5D93E0C8F12}" presName="rootText" presStyleLbl="node2" presStyleIdx="5" presStyleCnt="6" custScaleX="122545" custScaleY="163289">
        <dgm:presLayoutVars>
          <dgm:chPref val="3"/>
        </dgm:presLayoutVars>
      </dgm:prSet>
      <dgm:spPr>
        <a:prstGeom prst="roundRect">
          <a:avLst/>
        </a:prstGeom>
      </dgm:spPr>
      <dgm:t>
        <a:bodyPr/>
        <a:lstStyle/>
        <a:p>
          <a:endParaRPr lang="en-US"/>
        </a:p>
      </dgm:t>
    </dgm:pt>
    <dgm:pt modelId="{78596C7B-EEAE-2041-808D-BB85B551442B}" type="pres">
      <dgm:prSet presAssocID="{D069104F-4C0B-3147-953F-A5D93E0C8F12}" presName="rootConnector" presStyleLbl="node2" presStyleIdx="5" presStyleCnt="6"/>
      <dgm:spPr/>
      <dgm:t>
        <a:bodyPr/>
        <a:lstStyle/>
        <a:p>
          <a:endParaRPr lang="en-US"/>
        </a:p>
      </dgm:t>
    </dgm:pt>
    <dgm:pt modelId="{5D17771E-4B1E-524B-BB1A-B729F8A623F9}" type="pres">
      <dgm:prSet presAssocID="{D069104F-4C0B-3147-953F-A5D93E0C8F12}" presName="hierChild4" presStyleCnt="0"/>
      <dgm:spPr/>
    </dgm:pt>
    <dgm:pt modelId="{18EACF5C-66CA-3E4D-8C5C-FF5941FDB285}" type="pres">
      <dgm:prSet presAssocID="{2D781344-65A3-CC42-AE48-89E6ECA195E3}" presName="Name37" presStyleLbl="parChTrans1D3" presStyleIdx="15" presStyleCnt="18" custSzY="1501939"/>
      <dgm:spPr/>
      <dgm:t>
        <a:bodyPr/>
        <a:lstStyle/>
        <a:p>
          <a:endParaRPr lang="en-US"/>
        </a:p>
      </dgm:t>
    </dgm:pt>
    <dgm:pt modelId="{6C7DB993-CCDC-324F-8775-E1F06DD4FFD7}" type="pres">
      <dgm:prSet presAssocID="{C3ACB4D6-7889-774B-A5F7-FFA378C074CF}" presName="hierRoot2" presStyleCnt="0">
        <dgm:presLayoutVars>
          <dgm:hierBranch val="init"/>
        </dgm:presLayoutVars>
      </dgm:prSet>
      <dgm:spPr/>
    </dgm:pt>
    <dgm:pt modelId="{D4DA819A-9F1A-9344-ADAA-3A8DDECA6851}" type="pres">
      <dgm:prSet presAssocID="{C3ACB4D6-7889-774B-A5F7-FFA378C074CF}" presName="rootComposite" presStyleCnt="0"/>
      <dgm:spPr/>
    </dgm:pt>
    <dgm:pt modelId="{3F382FC2-12CB-D943-89ED-75CADBE6B2B9}" type="pres">
      <dgm:prSet presAssocID="{C3ACB4D6-7889-774B-A5F7-FFA378C074CF}" presName="rootText" presStyleLbl="node3" presStyleIdx="15" presStyleCnt="18" custScaleY="163289">
        <dgm:presLayoutVars>
          <dgm:chPref val="3"/>
        </dgm:presLayoutVars>
      </dgm:prSet>
      <dgm:spPr>
        <a:prstGeom prst="roundRect">
          <a:avLst/>
        </a:prstGeom>
      </dgm:spPr>
      <dgm:t>
        <a:bodyPr/>
        <a:lstStyle/>
        <a:p>
          <a:endParaRPr lang="en-US"/>
        </a:p>
      </dgm:t>
    </dgm:pt>
    <dgm:pt modelId="{A9018DA5-07A6-1047-8906-D5CEBD268137}" type="pres">
      <dgm:prSet presAssocID="{C3ACB4D6-7889-774B-A5F7-FFA378C074CF}" presName="rootConnector" presStyleLbl="node3" presStyleIdx="15" presStyleCnt="18"/>
      <dgm:spPr/>
      <dgm:t>
        <a:bodyPr/>
        <a:lstStyle/>
        <a:p>
          <a:endParaRPr lang="en-US"/>
        </a:p>
      </dgm:t>
    </dgm:pt>
    <dgm:pt modelId="{B5813A8B-06F6-9048-B681-BC00AA738FE4}" type="pres">
      <dgm:prSet presAssocID="{C3ACB4D6-7889-774B-A5F7-FFA378C074CF}" presName="hierChild4" presStyleCnt="0"/>
      <dgm:spPr/>
    </dgm:pt>
    <dgm:pt modelId="{95C46E87-2E48-C342-A249-297A911EA1BF}" type="pres">
      <dgm:prSet presAssocID="{C3ACB4D6-7889-774B-A5F7-FFA378C074CF}" presName="hierChild5" presStyleCnt="0"/>
      <dgm:spPr/>
    </dgm:pt>
    <dgm:pt modelId="{CE80B93D-D000-8B4B-8100-E0B67DB0E877}" type="pres">
      <dgm:prSet presAssocID="{9197C098-8C8E-D049-B974-F3A046C386B0}" presName="Name37" presStyleLbl="parChTrans1D3" presStyleIdx="16" presStyleCnt="18" custSzY="3936388"/>
      <dgm:spPr/>
      <dgm:t>
        <a:bodyPr/>
        <a:lstStyle/>
        <a:p>
          <a:endParaRPr lang="en-US"/>
        </a:p>
      </dgm:t>
    </dgm:pt>
    <dgm:pt modelId="{135F96AC-C0EB-DF47-A8C8-A7B4CD21E5E7}" type="pres">
      <dgm:prSet presAssocID="{02A61A4C-1F65-A841-A4A7-C10C1A746FA0}" presName="hierRoot2" presStyleCnt="0">
        <dgm:presLayoutVars>
          <dgm:hierBranch val="init"/>
        </dgm:presLayoutVars>
      </dgm:prSet>
      <dgm:spPr/>
    </dgm:pt>
    <dgm:pt modelId="{211E14D2-36F3-F344-B001-DAEE9207C99A}" type="pres">
      <dgm:prSet presAssocID="{02A61A4C-1F65-A841-A4A7-C10C1A746FA0}" presName="rootComposite" presStyleCnt="0"/>
      <dgm:spPr/>
    </dgm:pt>
    <dgm:pt modelId="{EA99EEAC-15F9-BB4A-A17F-8DF66EAF1CDC}" type="pres">
      <dgm:prSet presAssocID="{02A61A4C-1F65-A841-A4A7-C10C1A746FA0}" presName="rootText" presStyleLbl="node3" presStyleIdx="16" presStyleCnt="18" custScaleY="163289">
        <dgm:presLayoutVars>
          <dgm:chPref val="3"/>
        </dgm:presLayoutVars>
      </dgm:prSet>
      <dgm:spPr>
        <a:prstGeom prst="roundRect">
          <a:avLst/>
        </a:prstGeom>
      </dgm:spPr>
      <dgm:t>
        <a:bodyPr/>
        <a:lstStyle/>
        <a:p>
          <a:endParaRPr lang="en-US"/>
        </a:p>
      </dgm:t>
    </dgm:pt>
    <dgm:pt modelId="{AF27EFD7-AEE3-5142-9BFD-36D0D1B36002}" type="pres">
      <dgm:prSet presAssocID="{02A61A4C-1F65-A841-A4A7-C10C1A746FA0}" presName="rootConnector" presStyleLbl="node3" presStyleIdx="16" presStyleCnt="18"/>
      <dgm:spPr/>
      <dgm:t>
        <a:bodyPr/>
        <a:lstStyle/>
        <a:p>
          <a:endParaRPr lang="en-US"/>
        </a:p>
      </dgm:t>
    </dgm:pt>
    <dgm:pt modelId="{9C8E7226-45B7-4C4E-9BE3-277B0CB35A46}" type="pres">
      <dgm:prSet presAssocID="{02A61A4C-1F65-A841-A4A7-C10C1A746FA0}" presName="hierChild4" presStyleCnt="0"/>
      <dgm:spPr/>
    </dgm:pt>
    <dgm:pt modelId="{B654A497-F541-7549-BE0E-498FA6C82A50}" type="pres">
      <dgm:prSet presAssocID="{02A61A4C-1F65-A841-A4A7-C10C1A746FA0}" presName="hierChild5" presStyleCnt="0"/>
      <dgm:spPr/>
    </dgm:pt>
    <dgm:pt modelId="{EE101F31-B493-FC4F-BA98-4DA93A046699}" type="pres">
      <dgm:prSet presAssocID="{9ACF3F41-8BA2-7647-A016-D4E5A2A50965}" presName="Name37" presStyleLbl="parChTrans1D3" presStyleIdx="17" presStyleCnt="18" custSzY="6370837"/>
      <dgm:spPr/>
      <dgm:t>
        <a:bodyPr/>
        <a:lstStyle/>
        <a:p>
          <a:endParaRPr lang="en-US"/>
        </a:p>
      </dgm:t>
    </dgm:pt>
    <dgm:pt modelId="{743FC97E-EDF8-8440-9167-2FF59851F03F}" type="pres">
      <dgm:prSet presAssocID="{6308DAA9-F7A4-2D4C-A7FF-EBCD8392D5BE}" presName="hierRoot2" presStyleCnt="0">
        <dgm:presLayoutVars>
          <dgm:hierBranch val="init"/>
        </dgm:presLayoutVars>
      </dgm:prSet>
      <dgm:spPr/>
    </dgm:pt>
    <dgm:pt modelId="{72E8E29A-9051-694D-A417-CE6EE9089A15}" type="pres">
      <dgm:prSet presAssocID="{6308DAA9-F7A4-2D4C-A7FF-EBCD8392D5BE}" presName="rootComposite" presStyleCnt="0"/>
      <dgm:spPr/>
    </dgm:pt>
    <dgm:pt modelId="{72D53164-9DF1-584A-A8A9-A81741EC7864}" type="pres">
      <dgm:prSet presAssocID="{6308DAA9-F7A4-2D4C-A7FF-EBCD8392D5BE}" presName="rootText" presStyleLbl="node3" presStyleIdx="17" presStyleCnt="18" custScaleY="163289">
        <dgm:presLayoutVars>
          <dgm:chPref val="3"/>
        </dgm:presLayoutVars>
      </dgm:prSet>
      <dgm:spPr>
        <a:prstGeom prst="roundRect">
          <a:avLst/>
        </a:prstGeom>
      </dgm:spPr>
      <dgm:t>
        <a:bodyPr/>
        <a:lstStyle/>
        <a:p>
          <a:endParaRPr lang="en-US"/>
        </a:p>
      </dgm:t>
    </dgm:pt>
    <dgm:pt modelId="{5108E4B9-C933-084B-87BD-17BA21FAC394}" type="pres">
      <dgm:prSet presAssocID="{6308DAA9-F7A4-2D4C-A7FF-EBCD8392D5BE}" presName="rootConnector" presStyleLbl="node3" presStyleIdx="17" presStyleCnt="18"/>
      <dgm:spPr/>
      <dgm:t>
        <a:bodyPr/>
        <a:lstStyle/>
        <a:p>
          <a:endParaRPr lang="en-US"/>
        </a:p>
      </dgm:t>
    </dgm:pt>
    <dgm:pt modelId="{649410E7-1B76-0045-8BBB-B901D379D30D}" type="pres">
      <dgm:prSet presAssocID="{6308DAA9-F7A4-2D4C-A7FF-EBCD8392D5BE}" presName="hierChild4" presStyleCnt="0"/>
      <dgm:spPr/>
    </dgm:pt>
    <dgm:pt modelId="{71FE410D-3141-9A4F-B3B0-E72482DDAA9E}" type="pres">
      <dgm:prSet presAssocID="{6308DAA9-F7A4-2D4C-A7FF-EBCD8392D5BE}" presName="hierChild5" presStyleCnt="0"/>
      <dgm:spPr/>
    </dgm:pt>
    <dgm:pt modelId="{563039BE-2DC6-AF4D-A183-8E60493152DD}" type="pres">
      <dgm:prSet presAssocID="{D069104F-4C0B-3147-953F-A5D93E0C8F12}" presName="hierChild5" presStyleCnt="0"/>
      <dgm:spPr/>
    </dgm:pt>
    <dgm:pt modelId="{42EF44E0-7DBD-CF4E-9797-0AB81CD9C8EC}" type="pres">
      <dgm:prSet presAssocID="{25517EF2-3665-EB4B-9D7F-2C037C685C4E}" presName="hierChild3" presStyleCnt="0"/>
      <dgm:spPr/>
    </dgm:pt>
  </dgm:ptLst>
  <dgm:cxnLst>
    <dgm:cxn modelId="{DE82662A-7317-3A44-9B7E-83AB1D77A8E6}" srcId="{67FD2AD4-7083-B34B-8AB9-E13081EF86F9}" destId="{73C75B63-3273-2346-8A61-65D3F5E8CBC0}" srcOrd="1" destOrd="0" parTransId="{411D2A1A-9B4A-674A-B93D-2C923CBCDFDB}" sibTransId="{0DA3E687-69A2-C040-A91D-CC726019B849}"/>
    <dgm:cxn modelId="{98095A4A-FA31-E347-A2D2-A4737A7F0D8C}" type="presOf" srcId="{EFC072AF-A0F9-2340-A2B6-3F5834C6C0F3}" destId="{5030E2EE-B0D1-364F-B6DF-876E246B6AE1}" srcOrd="0" destOrd="0" presId="urn:microsoft.com/office/officeart/2005/8/layout/orgChart1"/>
    <dgm:cxn modelId="{ED0BEA32-BE09-DE4C-AE70-59AD6BA3773F}" type="presOf" srcId="{76C0524B-EDDB-FA4A-A6A1-2FDCA1EEFA25}" destId="{129F0079-A483-7E48-A321-97C36DBA0475}" srcOrd="0" destOrd="0" presId="urn:microsoft.com/office/officeart/2005/8/layout/orgChart1"/>
    <dgm:cxn modelId="{4D4D9814-E421-3F45-A534-4DF9684F46EC}" type="presOf" srcId="{A53C0CFE-184A-1146-8FA6-FFD39694D4B0}" destId="{2CA7FC21-BB86-E144-A530-0AA3F7C11ADE}" srcOrd="1" destOrd="0" presId="urn:microsoft.com/office/officeart/2005/8/layout/orgChart1"/>
    <dgm:cxn modelId="{324D3C05-7E11-6142-B9B7-0DD112C19A36}" type="presOf" srcId="{C6588B98-FB28-334E-BDCA-56820ACB0569}" destId="{CCA6A030-3016-FB4D-BB2D-797B6CA6511F}" srcOrd="1" destOrd="0" presId="urn:microsoft.com/office/officeart/2005/8/layout/orgChart1"/>
    <dgm:cxn modelId="{B00A64FC-E62B-0B48-B010-0717DFBC827A}" srcId="{AF3357FD-18B0-1644-966C-BCE3778B58DD}" destId="{25517EF2-3665-EB4B-9D7F-2C037C685C4E}" srcOrd="0" destOrd="0" parTransId="{D1D1E974-9AD9-1A42-A6F6-F902A49BDCFF}" sibTransId="{56D907EF-C84C-3B48-8C95-0AE5C1659474}"/>
    <dgm:cxn modelId="{507A7539-079D-884C-A750-47DC0E0F2B5F}" srcId="{25517EF2-3665-EB4B-9D7F-2C037C685C4E}" destId="{5B4F3E0D-971E-3647-86E4-6868F203DC2B}" srcOrd="2" destOrd="0" parTransId="{F35DDD95-A0E8-D04C-90F4-7D2AE6A0AF8D}" sibTransId="{F173B29F-EA33-FF4F-8F61-60CD6EE8F154}"/>
    <dgm:cxn modelId="{9682A51E-0ABF-CA45-B106-23F267FF6DD2}" type="presOf" srcId="{14A9B10A-492B-F046-AA45-A18CECB57509}" destId="{6D27B739-9A5A-FE45-BC1E-B91110B18E69}" srcOrd="1" destOrd="0" presId="urn:microsoft.com/office/officeart/2005/8/layout/orgChart1"/>
    <dgm:cxn modelId="{5737ED41-E74E-274D-BE70-9D25EE1BD28D}" type="presOf" srcId="{1DF3C01B-2614-5C42-80DD-7422BFA9073B}" destId="{C8DB6E88-65AB-3947-BF5E-D30F973C203C}" srcOrd="0" destOrd="0" presId="urn:microsoft.com/office/officeart/2005/8/layout/orgChart1"/>
    <dgm:cxn modelId="{8E83FC29-48C5-4444-AE90-5339513C29A4}" type="presOf" srcId="{705E07FB-4646-5640-AD39-5663CA022EE0}" destId="{FCB70BC6-8BC2-7740-8498-E09039141FAE}" srcOrd="0" destOrd="0" presId="urn:microsoft.com/office/officeart/2005/8/layout/orgChart1"/>
    <dgm:cxn modelId="{05A4FB16-4D12-7948-A4CA-08CFD26EA34A}" type="presOf" srcId="{7FF81494-F22E-3B4A-AE0B-9C51C4A0F12C}" destId="{D62CB30F-6901-594F-8775-B46F34227BC9}" srcOrd="0" destOrd="0" presId="urn:microsoft.com/office/officeart/2005/8/layout/orgChart1"/>
    <dgm:cxn modelId="{03D55E00-4AD3-EB4B-A0E3-8C47A5659739}" type="presOf" srcId="{BA6FF226-3807-2346-A740-CE3E60981FB3}" destId="{8C060B5F-BBBF-2049-9E6B-A69B2A074D8E}" srcOrd="1" destOrd="0" presId="urn:microsoft.com/office/officeart/2005/8/layout/orgChart1"/>
    <dgm:cxn modelId="{8F3380B3-DB36-6446-B997-B010C341C21E}" type="presOf" srcId="{338A4ADE-7A0B-DA46-A749-6378547614AE}" destId="{9276651D-6194-EA49-8E09-02C1BFFFA9D5}" srcOrd="0" destOrd="0" presId="urn:microsoft.com/office/officeart/2005/8/layout/orgChart1"/>
    <dgm:cxn modelId="{169571C6-3C67-8343-8BE2-0AAE8C1EB264}" type="presOf" srcId="{964A5E62-97E7-C048-9268-0DD949F4134F}" destId="{7B5B0F12-5DDA-9943-9092-2A10F2FE9601}" srcOrd="0" destOrd="0" presId="urn:microsoft.com/office/officeart/2005/8/layout/orgChart1"/>
    <dgm:cxn modelId="{6C0664FE-3DD9-B44B-A474-12312C125204}" type="presOf" srcId="{1DF3C01B-2614-5C42-80DD-7422BFA9073B}" destId="{62108426-B799-194D-AB78-22283909E5A2}" srcOrd="1" destOrd="0" presId="urn:microsoft.com/office/officeart/2005/8/layout/orgChart1"/>
    <dgm:cxn modelId="{D86C677E-69C0-2042-9D64-0871A1820172}" type="presOf" srcId="{5959550F-67B9-B04E-91C4-902A91EFE7E5}" destId="{B9CC71A5-3834-534E-9ECE-601DD70734B2}" srcOrd="1" destOrd="0" presId="urn:microsoft.com/office/officeart/2005/8/layout/orgChart1"/>
    <dgm:cxn modelId="{399036D6-1478-DB4C-9301-B6B97C752263}" type="presOf" srcId="{D388754C-8CDF-944F-81D9-734A1D624DE5}" destId="{667C8B84-66F0-D04D-AF88-0F329C747158}" srcOrd="0" destOrd="0" presId="urn:microsoft.com/office/officeart/2005/8/layout/orgChart1"/>
    <dgm:cxn modelId="{E04C6730-3FFD-5D4B-985C-9C0A77B05039}" srcId="{4B26847B-222F-E04F-B93F-7958496DA65C}" destId="{C6588B98-FB28-334E-BDCA-56820ACB0569}" srcOrd="1" destOrd="0" parTransId="{3B5A4386-A293-8747-A207-2A8D5CABEA7A}" sibTransId="{1DAD777C-69EB-524E-B685-59D1A2C22C8E}"/>
    <dgm:cxn modelId="{19B425DD-BC3C-AC4B-A529-3135946C8EAA}" type="presOf" srcId="{5B4F3E0D-971E-3647-86E4-6868F203DC2B}" destId="{8249A152-56BE-E046-8A45-0C56C7C1D191}" srcOrd="1" destOrd="0" presId="urn:microsoft.com/office/officeart/2005/8/layout/orgChart1"/>
    <dgm:cxn modelId="{1A7C42BD-BFF2-FA42-B0CE-49240439EFDE}" type="presOf" srcId="{1A5ABF02-3DC0-3F46-89A6-D4A83DB904D1}" destId="{7AAAE15D-9C55-1D43-B8B7-B04F0D48EABD}" srcOrd="0" destOrd="0" presId="urn:microsoft.com/office/officeart/2005/8/layout/orgChart1"/>
    <dgm:cxn modelId="{CA1251BF-48D4-2343-9F00-F655006720A1}" type="presOf" srcId="{6308DAA9-F7A4-2D4C-A7FF-EBCD8392D5BE}" destId="{72D53164-9DF1-584A-A8A9-A81741EC7864}" srcOrd="0" destOrd="0" presId="urn:microsoft.com/office/officeart/2005/8/layout/orgChart1"/>
    <dgm:cxn modelId="{45EA203C-578E-7742-901B-E130DB810D48}" type="presOf" srcId="{E110FCDD-5DD2-7A49-B84B-225145A8853A}" destId="{FD0BC2B8-08A5-504D-8B97-A8DFE6F2353D}" srcOrd="0" destOrd="0" presId="urn:microsoft.com/office/officeart/2005/8/layout/orgChart1"/>
    <dgm:cxn modelId="{11BA4FF9-3E27-F446-96A9-52E0E5EB49BB}" type="presOf" srcId="{50B35D2E-59F3-7346-A146-7B84569A5183}" destId="{36770380-7547-ED48-AB39-E00707E5AE49}" srcOrd="1" destOrd="0" presId="urn:microsoft.com/office/officeart/2005/8/layout/orgChart1"/>
    <dgm:cxn modelId="{869C65F3-11EE-BB46-ADAE-9187E793F12F}" type="presOf" srcId="{338A4ADE-7A0B-DA46-A749-6378547614AE}" destId="{CD5ED238-8A46-9548-AD80-16CB05272A14}" srcOrd="1" destOrd="0" presId="urn:microsoft.com/office/officeart/2005/8/layout/orgChart1"/>
    <dgm:cxn modelId="{FE7A0A06-6835-0D48-B165-DEABCE50346A}" type="presOf" srcId="{A53C0CFE-184A-1146-8FA6-FFD39694D4B0}" destId="{210923D2-AC03-0946-B698-462DDD0B6542}" srcOrd="0" destOrd="0" presId="urn:microsoft.com/office/officeart/2005/8/layout/orgChart1"/>
    <dgm:cxn modelId="{EE4FC0F7-E46D-A248-900B-1191A05B49EC}" type="presOf" srcId="{D069104F-4C0B-3147-953F-A5D93E0C8F12}" destId="{0FE69002-AB56-3740-A6BE-C29542137A47}" srcOrd="0" destOrd="0" presId="urn:microsoft.com/office/officeart/2005/8/layout/orgChart1"/>
    <dgm:cxn modelId="{55554E11-9591-C94B-AD20-6DB2D96DA61B}" type="presOf" srcId="{4BB222BF-BE28-4C47-9A72-39286C322445}" destId="{323D0151-0AF0-7A44-BCE6-C10462839127}" srcOrd="0" destOrd="0" presId="urn:microsoft.com/office/officeart/2005/8/layout/orgChart1"/>
    <dgm:cxn modelId="{6F47062D-6E63-1C4F-8B35-A2743E2FDBE3}" srcId="{C70D9AAD-288E-0B4A-A4D2-9169EEB4C5EF}" destId="{338A4ADE-7A0B-DA46-A749-6378547614AE}" srcOrd="2" destOrd="0" parTransId="{7085B25D-4135-BC43-B854-9EAACE03C079}" sibTransId="{DAB67360-C5DA-964D-A265-B384EDA879CD}"/>
    <dgm:cxn modelId="{25AB3C95-40C2-5A4C-924F-4F5741F8E6BD}" type="presOf" srcId="{9197C098-8C8E-D049-B974-F3A046C386B0}" destId="{CE80B93D-D000-8B4B-8100-E0B67DB0E877}" srcOrd="0" destOrd="0" presId="urn:microsoft.com/office/officeart/2005/8/layout/orgChart1"/>
    <dgm:cxn modelId="{74999E7E-274D-3341-8034-6FC3C42FE6F1}" type="presOf" srcId="{C70D9AAD-288E-0B4A-A4D2-9169EEB4C5EF}" destId="{A8476105-19F1-B646-B233-7DFE7667D28F}" srcOrd="1" destOrd="0" presId="urn:microsoft.com/office/officeart/2005/8/layout/orgChart1"/>
    <dgm:cxn modelId="{468376E6-F32C-784C-AF1C-F32F9EEE22F0}" srcId="{67FD2AD4-7083-B34B-8AB9-E13081EF86F9}" destId="{480C2FAB-0A28-DC43-92DE-A584FB0DAE31}" srcOrd="0" destOrd="0" parTransId="{D5307D3E-A636-324D-8C3A-9829230BB487}" sibTransId="{A7E8F226-EDDB-004D-8FA7-624FBA8EE44D}"/>
    <dgm:cxn modelId="{D6FDFFD2-2696-5E49-9EA9-DE4C581741D6}" type="presOf" srcId="{C3ACB4D6-7889-774B-A5F7-FFA378C074CF}" destId="{A9018DA5-07A6-1047-8906-D5CEBD268137}" srcOrd="1" destOrd="0" presId="urn:microsoft.com/office/officeart/2005/8/layout/orgChart1"/>
    <dgm:cxn modelId="{A0BAFEFE-E577-9F46-A046-40F7912C1083}" type="presOf" srcId="{50B35D2E-59F3-7346-A146-7B84569A5183}" destId="{2ED78204-93EC-064C-823A-1586CD82394C}" srcOrd="0" destOrd="0" presId="urn:microsoft.com/office/officeart/2005/8/layout/orgChart1"/>
    <dgm:cxn modelId="{A3DEF5DD-4DA5-064F-9A64-A11BE283B5FA}" srcId="{4B26847B-222F-E04F-B93F-7958496DA65C}" destId="{50B35D2E-59F3-7346-A146-7B84569A5183}" srcOrd="0" destOrd="0" parTransId="{33424807-C11D-7C4A-85E7-BB0E19ACD352}" sibTransId="{FD010288-FF0D-2D49-A5AC-435BA24A2550}"/>
    <dgm:cxn modelId="{7628F22B-61AE-6445-A4B9-A62148599558}" type="presOf" srcId="{F5F28F68-69DA-C347-938A-3CCF605B29AB}" destId="{6AB3DB73-5383-E944-8E93-5490DBAC07ED}" srcOrd="0" destOrd="0" presId="urn:microsoft.com/office/officeart/2005/8/layout/orgChart1"/>
    <dgm:cxn modelId="{9D1E9560-B00B-2B46-A249-6D82C959E76D}" type="presOf" srcId="{D069104F-4C0B-3147-953F-A5D93E0C8F12}" destId="{78596C7B-EEAE-2041-808D-BB85B551442B}" srcOrd="1" destOrd="0" presId="urn:microsoft.com/office/officeart/2005/8/layout/orgChart1"/>
    <dgm:cxn modelId="{4F00E388-C72F-E24D-B41C-C77F61A7A0A7}" srcId="{C70D9AAD-288E-0B4A-A4D2-9169EEB4C5EF}" destId="{BA6FF226-3807-2346-A740-CE3E60981FB3}" srcOrd="0" destOrd="0" parTransId="{705E07FB-4646-5640-AD39-5663CA022EE0}" sibTransId="{4F2ECF20-4C49-5249-A0EF-5FAE6D3E84AE}"/>
    <dgm:cxn modelId="{2BF524E2-1BD9-DA47-8878-2D47CE1636A8}" srcId="{C70D9AAD-288E-0B4A-A4D2-9169EEB4C5EF}" destId="{8C2CA5B6-6500-9D43-9984-AE6727A18F74}" srcOrd="1" destOrd="0" parTransId="{537E3EB2-8400-9F46-8E14-018A525A6F13}" sibTransId="{B03FC588-7422-B345-AC2A-404830D942A9}"/>
    <dgm:cxn modelId="{EB327FC3-1B26-EC46-938A-8D30EA6DA080}" type="presOf" srcId="{49CB4C51-4B03-F94A-A9CC-2536C8F9270F}" destId="{F63DB975-E825-ED40-9ED5-8EF8047133DC}" srcOrd="0" destOrd="0" presId="urn:microsoft.com/office/officeart/2005/8/layout/orgChart1"/>
    <dgm:cxn modelId="{A06754E3-78BC-6F40-B5AC-421CEDEFF855}" type="presOf" srcId="{D388754C-8CDF-944F-81D9-734A1D624DE5}" destId="{C032D471-E31D-BF47-90BC-0B75D3183438}" srcOrd="1" destOrd="0" presId="urn:microsoft.com/office/officeart/2005/8/layout/orgChart1"/>
    <dgm:cxn modelId="{BCBE94FC-A784-064C-826B-85DA0D97A068}" type="presOf" srcId="{25517EF2-3665-EB4B-9D7F-2C037C685C4E}" destId="{06637420-A86F-4644-990A-75D86B7E454C}" srcOrd="0" destOrd="0" presId="urn:microsoft.com/office/officeart/2005/8/layout/orgChart1"/>
    <dgm:cxn modelId="{44982454-02A3-964A-A7E9-6B1BED7E6639}" srcId="{D069104F-4C0B-3147-953F-A5D93E0C8F12}" destId="{02A61A4C-1F65-A841-A4A7-C10C1A746FA0}" srcOrd="1" destOrd="0" parTransId="{9197C098-8C8E-D049-B974-F3A046C386B0}" sibTransId="{9C0643BD-024C-6945-806C-AD1907A088E2}"/>
    <dgm:cxn modelId="{62910131-FEA6-F84A-BF21-978561246D8A}" type="presOf" srcId="{7D0C8FC0-2822-5146-86DC-E862D57D28F7}" destId="{4C9BEE53-E580-D245-BCCD-590C85D76065}" srcOrd="0" destOrd="0" presId="urn:microsoft.com/office/officeart/2005/8/layout/orgChart1"/>
    <dgm:cxn modelId="{3239CA50-177B-2045-ACBA-175C6D2A42FC}" type="presOf" srcId="{C70D9AAD-288E-0B4A-A4D2-9169EEB4C5EF}" destId="{6A1B3FF2-4302-AB42-9144-D0C7AF33189D}" srcOrd="0" destOrd="0" presId="urn:microsoft.com/office/officeart/2005/8/layout/orgChart1"/>
    <dgm:cxn modelId="{B456C1ED-CE32-F147-B0E7-907F06C4219F}" srcId="{25517EF2-3665-EB4B-9D7F-2C037C685C4E}" destId="{D069104F-4C0B-3147-953F-A5D93E0C8F12}" srcOrd="5" destOrd="0" parTransId="{E110FCDD-5DD2-7A49-B84B-225145A8853A}" sibTransId="{39A089AB-A795-484A-A4A6-264956AD86C0}"/>
    <dgm:cxn modelId="{9D2A32B4-16FA-544E-9C49-3B64FC2DB50D}" type="presOf" srcId="{411D2A1A-9B4A-674A-B93D-2C923CBCDFDB}" destId="{6440B106-7C72-9547-AE5A-A590A6A7292B}" srcOrd="0" destOrd="0" presId="urn:microsoft.com/office/officeart/2005/8/layout/orgChart1"/>
    <dgm:cxn modelId="{BBBE387D-7698-7F47-94B3-32B85260EEBB}" type="presOf" srcId="{11B5AD18-48FD-6A4B-A82C-B8D0882BDFD5}" destId="{35D57237-8BFB-E945-A7A7-3C3A20E1DD9C}" srcOrd="1" destOrd="0" presId="urn:microsoft.com/office/officeart/2005/8/layout/orgChart1"/>
    <dgm:cxn modelId="{42F38585-8803-4D47-AA22-24F4039BD52D}" type="presOf" srcId="{7D0052A5-00E7-E545-B888-401A40246FF3}" destId="{CDA8158C-1C6B-024B-9E64-1510DD2C7A55}" srcOrd="0" destOrd="0" presId="urn:microsoft.com/office/officeart/2005/8/layout/orgChart1"/>
    <dgm:cxn modelId="{5B7DF972-E17C-714E-A71B-3D827ED70FA6}" type="presOf" srcId="{02A61A4C-1F65-A841-A4A7-C10C1A746FA0}" destId="{AF27EFD7-AEE3-5142-9BFD-36D0D1B36002}" srcOrd="1" destOrd="0" presId="urn:microsoft.com/office/officeart/2005/8/layout/orgChart1"/>
    <dgm:cxn modelId="{A36B01A2-EF46-2B4A-B4B9-5FCB9A2315D0}" srcId="{49CB4C51-4B03-F94A-A9CC-2536C8F9270F}" destId="{14A9B10A-492B-F046-AA45-A18CECB57509}" srcOrd="0" destOrd="0" parTransId="{964A5E62-97E7-C048-9268-0DD949F4134F}" sibTransId="{7A26E861-AF89-6F4A-88AE-4CE5F18F3043}"/>
    <dgm:cxn modelId="{73F2C3CF-F5DF-A440-AD5C-B2048E012A44}" type="presOf" srcId="{8C2CA5B6-6500-9D43-9984-AE6727A18F74}" destId="{35471471-CB84-0746-BDD4-1655B6C5471A}" srcOrd="0" destOrd="0" presId="urn:microsoft.com/office/officeart/2005/8/layout/orgChart1"/>
    <dgm:cxn modelId="{0C405A27-D666-984A-914C-5A8F75D3A65A}" type="presOf" srcId="{C6588B98-FB28-334E-BDCA-56820ACB0569}" destId="{3B98D480-5A9A-0A4D-8BDC-FE216FA48EE4}" srcOrd="0" destOrd="0" presId="urn:microsoft.com/office/officeart/2005/8/layout/orgChart1"/>
    <dgm:cxn modelId="{FA7E9AE2-EAEC-8047-9B73-B7945FFA5297}" type="presOf" srcId="{480C2FAB-0A28-DC43-92DE-A584FB0DAE31}" destId="{312925C6-1321-8C4D-8ECE-565EBD85AA53}" srcOrd="0" destOrd="0" presId="urn:microsoft.com/office/officeart/2005/8/layout/orgChart1"/>
    <dgm:cxn modelId="{219BA358-66B7-0F44-B8A3-21E80178ACCF}" srcId="{25517EF2-3665-EB4B-9D7F-2C037C685C4E}" destId="{C70D9AAD-288E-0B4A-A4D2-9169EEB4C5EF}" srcOrd="1" destOrd="0" parTransId="{F5F28F68-69DA-C347-938A-3CCF605B29AB}" sibTransId="{6A1A54A5-98A7-FF49-9699-4CB4608AB21F}"/>
    <dgm:cxn modelId="{FDE7CE2D-8E83-4447-89C4-C5E3E8445C0D}" type="presOf" srcId="{5959550F-67B9-B04E-91C4-902A91EFE7E5}" destId="{0B86221D-B7E4-B74C-ACB9-8C43A9AE47F7}" srcOrd="0" destOrd="0" presId="urn:microsoft.com/office/officeart/2005/8/layout/orgChart1"/>
    <dgm:cxn modelId="{26048836-A771-BD48-8995-D7AB9ACD1FA8}" type="presOf" srcId="{5B4F3E0D-971E-3647-86E4-6868F203DC2B}" destId="{C98D4C05-6DFD-F848-8831-CA53C562EFA9}" srcOrd="0" destOrd="0" presId="urn:microsoft.com/office/officeart/2005/8/layout/orgChart1"/>
    <dgm:cxn modelId="{ED947C8C-3118-794F-A03D-8BD81D6A9BA3}" type="presOf" srcId="{6ED0CB55-86AA-574C-ACD3-3B855323E998}" destId="{10D8D681-CBDA-D246-9198-063E1F1463D5}" srcOrd="1" destOrd="0" presId="urn:microsoft.com/office/officeart/2005/8/layout/orgChart1"/>
    <dgm:cxn modelId="{862891FB-9F06-6246-9361-FA9C8A736C00}" type="presOf" srcId="{3B5A4386-A293-8747-A207-2A8D5CABEA7A}" destId="{88E2A4D5-E62D-B048-BDF2-2627D68216CE}" srcOrd="0" destOrd="0" presId="urn:microsoft.com/office/officeart/2005/8/layout/orgChart1"/>
    <dgm:cxn modelId="{567C4151-E086-6440-93D2-C44BC75B3D12}" srcId="{5B4F3E0D-971E-3647-86E4-6868F203DC2B}" destId="{11B5AD18-48FD-6A4B-A82C-B8D0882BDFD5}" srcOrd="1" destOrd="0" parTransId="{76C0524B-EDDB-FA4A-A6A1-2FDCA1EEFA25}" sibTransId="{F5E5DF55-1CB3-094F-AB65-827743BF210C}"/>
    <dgm:cxn modelId="{2DB5EFD8-AA35-3D44-982F-3C839A1C30C0}" srcId="{4B26847B-222F-E04F-B93F-7958496DA65C}" destId="{6ED0CB55-86AA-574C-ACD3-3B855323E998}" srcOrd="2" destOrd="0" parTransId="{7D0052A5-00E7-E545-B888-401A40246FF3}" sibTransId="{29D931B7-5EF3-7C46-8DD6-E1AF7D9AF902}"/>
    <dgm:cxn modelId="{B03B2853-7799-6542-973F-38921B9C59DC}" srcId="{D069104F-4C0B-3147-953F-A5D93E0C8F12}" destId="{C3ACB4D6-7889-774B-A5F7-FFA378C074CF}" srcOrd="0" destOrd="0" parTransId="{2D781344-65A3-CC42-AE48-89E6ECA195E3}" sibTransId="{D38DE1B7-1B09-0E49-ACB8-C9CFDEF1647E}"/>
    <dgm:cxn modelId="{1FBD23F0-1A4B-974D-BEAC-CB32E0047713}" type="presOf" srcId="{BA6FF226-3807-2346-A740-CE3E60981FB3}" destId="{22959F47-69F7-D445-9334-5C7C176A2653}" srcOrd="0" destOrd="0" presId="urn:microsoft.com/office/officeart/2005/8/layout/orgChart1"/>
    <dgm:cxn modelId="{70975066-D8FE-6748-BCE2-A0A6BD2360D4}" type="presOf" srcId="{1A5ABF02-3DC0-3F46-89A6-D4A83DB904D1}" destId="{C8CB1346-EB34-094E-8B3A-28042614FB03}" srcOrd="1" destOrd="0" presId="urn:microsoft.com/office/officeart/2005/8/layout/orgChart1"/>
    <dgm:cxn modelId="{ED8BF311-C42F-AE44-80CB-D0BE5CDD9190}" type="presOf" srcId="{6ED0CB55-86AA-574C-ACD3-3B855323E998}" destId="{2C0E0A56-4821-5340-9545-5653DBEF3E82}" srcOrd="0" destOrd="0" presId="urn:microsoft.com/office/officeart/2005/8/layout/orgChart1"/>
    <dgm:cxn modelId="{B8D2BCC0-6FE6-C14B-95EE-1017E15FF158}" type="presOf" srcId="{9ACF3F41-8BA2-7647-A016-D4E5A2A50965}" destId="{EE101F31-B493-FC4F-BA98-4DA93A046699}" srcOrd="0" destOrd="0" presId="urn:microsoft.com/office/officeart/2005/8/layout/orgChart1"/>
    <dgm:cxn modelId="{4EAB4C17-4E6A-B048-B80A-0BC9FDADE94F}" type="presOf" srcId="{02A61A4C-1F65-A841-A4A7-C10C1A746FA0}" destId="{EA99EEAC-15F9-BB4A-A17F-8DF66EAF1CDC}" srcOrd="0" destOrd="0" presId="urn:microsoft.com/office/officeart/2005/8/layout/orgChart1"/>
    <dgm:cxn modelId="{765F496A-DF0A-D340-82AA-515F7E305441}" srcId="{49CB4C51-4B03-F94A-A9CC-2536C8F9270F}" destId="{5959550F-67B9-B04E-91C4-902A91EFE7E5}" srcOrd="2" destOrd="0" parTransId="{BEEC9641-8114-8F4D-8D80-33DB53450849}" sibTransId="{13323021-6798-904F-A2E1-2BF25AC8C76A}"/>
    <dgm:cxn modelId="{EED427D4-D0EB-C24B-B22E-6929A7D537E7}" type="presOf" srcId="{67FD2AD4-7083-B34B-8AB9-E13081EF86F9}" destId="{572E3CDC-5D66-514E-8912-D04551846EC7}" srcOrd="0" destOrd="0" presId="urn:microsoft.com/office/officeart/2005/8/layout/orgChart1"/>
    <dgm:cxn modelId="{C0A75BEE-EF55-7641-B2C8-EFBC71859EA2}" type="presOf" srcId="{2D781344-65A3-CC42-AE48-89E6ECA195E3}" destId="{18EACF5C-66CA-3E4D-8C5C-FF5941FDB285}" srcOrd="0" destOrd="0" presId="urn:microsoft.com/office/officeart/2005/8/layout/orgChart1"/>
    <dgm:cxn modelId="{6395D2D6-9093-984B-BF32-B7A82BED7ADA}" srcId="{49CB4C51-4B03-F94A-A9CC-2536C8F9270F}" destId="{D388754C-8CDF-944F-81D9-734A1D624DE5}" srcOrd="1" destOrd="0" parTransId="{7D0C8FC0-2822-5146-86DC-E862D57D28F7}" sibTransId="{06E79FDE-5F09-BB4D-B6D0-7AB67CB26B63}"/>
    <dgm:cxn modelId="{D3656547-4FE9-5C46-8AF9-1BAE6BBB3612}" srcId="{5B4F3E0D-971E-3647-86E4-6868F203DC2B}" destId="{1DF3C01B-2614-5C42-80DD-7422BFA9073B}" srcOrd="2" destOrd="0" parTransId="{EFC072AF-A0F9-2340-A2B6-3F5834C6C0F3}" sibTransId="{036CF8FE-F202-7F4F-841D-5436F4E76D0C}"/>
    <dgm:cxn modelId="{5A29C4B8-A95D-E248-A600-052A5AB7C222}" type="presOf" srcId="{537E3EB2-8400-9F46-8E14-018A525A6F13}" destId="{6CD5F04D-881E-FF45-840F-9065F725359E}" srcOrd="0" destOrd="0" presId="urn:microsoft.com/office/officeart/2005/8/layout/orgChart1"/>
    <dgm:cxn modelId="{C6B477D4-F8A8-9F4F-9160-7F24E03E9944}" type="presOf" srcId="{49CB4C51-4B03-F94A-A9CC-2536C8F9270F}" destId="{448BE257-6BD3-154B-8455-7442213A9C1F}" srcOrd="1" destOrd="0" presId="urn:microsoft.com/office/officeart/2005/8/layout/orgChart1"/>
    <dgm:cxn modelId="{8F920AE9-1886-AC40-A98C-863F5AB3ABB2}" srcId="{25517EF2-3665-EB4B-9D7F-2C037C685C4E}" destId="{4B26847B-222F-E04F-B93F-7958496DA65C}" srcOrd="0" destOrd="0" parTransId="{07AFA923-B56F-0042-B585-5B06F0FA0896}" sibTransId="{EF2C2E1F-9C59-4E44-9BFF-B9B74523D935}"/>
    <dgm:cxn modelId="{A2806213-7ACE-9246-A0F4-FF25952D7424}" type="presOf" srcId="{F35DDD95-A0E8-D04C-90F4-7D2AE6A0AF8D}" destId="{910491EA-604E-6842-9866-DF2E9CD33930}" srcOrd="0" destOrd="0" presId="urn:microsoft.com/office/officeart/2005/8/layout/orgChart1"/>
    <dgm:cxn modelId="{A17B5C1A-C71B-C44A-969A-A55A3BD40075}" type="presOf" srcId="{D5307D3E-A636-324D-8C3A-9829230BB487}" destId="{44F6E45F-C07E-304C-AB67-8E8552A42778}" srcOrd="0" destOrd="0" presId="urn:microsoft.com/office/officeart/2005/8/layout/orgChart1"/>
    <dgm:cxn modelId="{E72BC4EF-4F4F-F544-966A-504C0AC06BF3}" type="presOf" srcId="{3096FC50-CDEA-CD40-A16C-4FE101488966}" destId="{65969C0C-C4EF-8044-B112-A2052B5FA261}" srcOrd="0" destOrd="0" presId="urn:microsoft.com/office/officeart/2005/8/layout/orgChart1"/>
    <dgm:cxn modelId="{65F855A4-20B0-764C-8C3E-764061693DDA}" type="presOf" srcId="{7085B25D-4135-BC43-B854-9EAACE03C079}" destId="{2DC6FEB6-D342-A148-B4E4-3574392637D2}" srcOrd="0" destOrd="0" presId="urn:microsoft.com/office/officeart/2005/8/layout/orgChart1"/>
    <dgm:cxn modelId="{2A12C5C6-7671-4747-AC6D-B46294573592}" type="presOf" srcId="{480C2FAB-0A28-DC43-92DE-A584FB0DAE31}" destId="{51242648-056D-864F-A823-CF2B10E36DC5}" srcOrd="1" destOrd="0" presId="urn:microsoft.com/office/officeart/2005/8/layout/orgChart1"/>
    <dgm:cxn modelId="{7D8294E6-07BD-5D4C-9ACF-8116659315FA}" srcId="{5B4F3E0D-971E-3647-86E4-6868F203DC2B}" destId="{1A5ABF02-3DC0-3F46-89A6-D4A83DB904D1}" srcOrd="0" destOrd="0" parTransId="{7FF81494-F22E-3B4A-AE0B-9C51C4A0F12C}" sibTransId="{CD3754BE-0B21-2447-82D0-254D5E91DDB9}"/>
    <dgm:cxn modelId="{98F155EB-8E42-6E4B-ADFF-28C4AC20F3A8}" type="presOf" srcId="{25517EF2-3665-EB4B-9D7F-2C037C685C4E}" destId="{466535D8-AEE6-1D47-974F-880041EEEAA5}" srcOrd="1" destOrd="0" presId="urn:microsoft.com/office/officeart/2005/8/layout/orgChart1"/>
    <dgm:cxn modelId="{CC2BDF27-613A-4348-BC2C-B4F026A8DD66}" type="presOf" srcId="{6308DAA9-F7A4-2D4C-A7FF-EBCD8392D5BE}" destId="{5108E4B9-C933-084B-87BD-17BA21FAC394}" srcOrd="1" destOrd="0" presId="urn:microsoft.com/office/officeart/2005/8/layout/orgChart1"/>
    <dgm:cxn modelId="{36096C7A-FC64-3E40-A831-45A1FB159AE5}" type="presOf" srcId="{8C2CA5B6-6500-9D43-9984-AE6727A18F74}" destId="{BF48F31E-442A-8542-BEC6-8A1283ECC0DC}" srcOrd="1" destOrd="0" presId="urn:microsoft.com/office/officeart/2005/8/layout/orgChart1"/>
    <dgm:cxn modelId="{DE475260-3A92-934F-B6B6-0F0EE16460F4}" srcId="{67FD2AD4-7083-B34B-8AB9-E13081EF86F9}" destId="{A53C0CFE-184A-1146-8FA6-FFD39694D4B0}" srcOrd="2" destOrd="0" parTransId="{3096FC50-CDEA-CD40-A16C-4FE101488966}" sibTransId="{713A8226-1B84-4E41-A1CB-EBD5E7CFFDE7}"/>
    <dgm:cxn modelId="{1BA6F9EE-A2DD-0743-9AB9-02C159019733}" srcId="{25517EF2-3665-EB4B-9D7F-2C037C685C4E}" destId="{67FD2AD4-7083-B34B-8AB9-E13081EF86F9}" srcOrd="4" destOrd="0" parTransId="{F409B74A-4849-4F40-B00A-E62D8179565D}" sibTransId="{3897B640-7E39-3E42-96E9-264EBC4AEE1F}"/>
    <dgm:cxn modelId="{060DEB37-3EAC-C442-B4DD-6F3A795014A1}" type="presOf" srcId="{14A9B10A-492B-F046-AA45-A18CECB57509}" destId="{BD45870A-B3FE-4649-A1E8-44ABA898ACEB}" srcOrd="0" destOrd="0" presId="urn:microsoft.com/office/officeart/2005/8/layout/orgChart1"/>
    <dgm:cxn modelId="{62F5AA70-EC51-A44D-B5FB-9027BA77C6BD}" type="presOf" srcId="{73C75B63-3273-2346-8A61-65D3F5E8CBC0}" destId="{8F158EFB-F898-3C42-9661-FD99398859DA}" srcOrd="1" destOrd="0" presId="urn:microsoft.com/office/officeart/2005/8/layout/orgChart1"/>
    <dgm:cxn modelId="{FB02E018-6D6C-A344-8FA0-76109E7AB411}" type="presOf" srcId="{73C75B63-3273-2346-8A61-65D3F5E8CBC0}" destId="{96DE10DD-2A27-1E4E-A6B9-8640BCC5A191}" srcOrd="0" destOrd="0" presId="urn:microsoft.com/office/officeart/2005/8/layout/orgChart1"/>
    <dgm:cxn modelId="{4116430D-22AB-7A45-9901-B4EA7E63A3D0}" type="presOf" srcId="{BEEC9641-8114-8F4D-8D80-33DB53450849}" destId="{EBF62F60-4DCC-6C46-AE65-EDFFE870F1F4}" srcOrd="0" destOrd="0" presId="urn:microsoft.com/office/officeart/2005/8/layout/orgChart1"/>
    <dgm:cxn modelId="{F4F3F9CB-DEB6-CA46-9E6D-7E2C087CD957}" type="presOf" srcId="{67FD2AD4-7083-B34B-8AB9-E13081EF86F9}" destId="{64829248-69CA-0B4E-875C-600221CC892E}" srcOrd="1" destOrd="0" presId="urn:microsoft.com/office/officeart/2005/8/layout/orgChart1"/>
    <dgm:cxn modelId="{B546A6F6-CAFB-CF40-B926-13BA09C0949F}" type="presOf" srcId="{F409B74A-4849-4F40-B00A-E62D8179565D}" destId="{1480E8B4-F1B6-8246-9806-7D2D0CB68815}" srcOrd="0" destOrd="0" presId="urn:microsoft.com/office/officeart/2005/8/layout/orgChart1"/>
    <dgm:cxn modelId="{63669B51-BCDF-0842-B024-AAB8E4130539}" type="presOf" srcId="{07AFA923-B56F-0042-B585-5B06F0FA0896}" destId="{0F5D9B2B-0CE6-4D47-A7B6-80BAEBDC59FC}" srcOrd="0" destOrd="0" presId="urn:microsoft.com/office/officeart/2005/8/layout/orgChart1"/>
    <dgm:cxn modelId="{6E5B6604-5B76-3849-9C1C-887303119EF0}" type="presOf" srcId="{4B26847B-222F-E04F-B93F-7958496DA65C}" destId="{A7DBADC9-C072-5C48-A3E3-552A2F42BAEE}" srcOrd="1" destOrd="0" presId="urn:microsoft.com/office/officeart/2005/8/layout/orgChart1"/>
    <dgm:cxn modelId="{51CA6A03-7C3D-BD43-9E7B-29FFC50ADFC3}" type="presOf" srcId="{4B26847B-222F-E04F-B93F-7958496DA65C}" destId="{91D7ADA8-1475-9349-913E-9C2D53C1D7C9}" srcOrd="0" destOrd="0" presId="urn:microsoft.com/office/officeart/2005/8/layout/orgChart1"/>
    <dgm:cxn modelId="{4C4FAA6A-FB05-D740-AF92-B5A4CD82B0CC}" srcId="{D069104F-4C0B-3147-953F-A5D93E0C8F12}" destId="{6308DAA9-F7A4-2D4C-A7FF-EBCD8392D5BE}" srcOrd="2" destOrd="0" parTransId="{9ACF3F41-8BA2-7647-A016-D4E5A2A50965}" sibTransId="{2541B10E-6F92-C44B-974B-71F50AD1905E}"/>
    <dgm:cxn modelId="{B49A515B-8DA6-EB4C-BA98-EC8D0915DBC1}" type="presOf" srcId="{C3ACB4D6-7889-774B-A5F7-FFA378C074CF}" destId="{3F382FC2-12CB-D943-89ED-75CADBE6B2B9}" srcOrd="0" destOrd="0" presId="urn:microsoft.com/office/officeart/2005/8/layout/orgChart1"/>
    <dgm:cxn modelId="{BC5F51B1-657E-AC40-88EE-410ADB0D1E6F}" type="presOf" srcId="{AF3357FD-18B0-1644-966C-BCE3778B58DD}" destId="{30607E5D-7EC8-8446-AD48-AEEC633315C8}" srcOrd="0" destOrd="0" presId="urn:microsoft.com/office/officeart/2005/8/layout/orgChart1"/>
    <dgm:cxn modelId="{9A43DC00-7CFB-E944-A61A-772AC3B1A419}" srcId="{25517EF2-3665-EB4B-9D7F-2C037C685C4E}" destId="{49CB4C51-4B03-F94A-A9CC-2536C8F9270F}" srcOrd="3" destOrd="0" parTransId="{4BB222BF-BE28-4C47-9A72-39286C322445}" sibTransId="{B9C2BE04-1365-0646-9A8C-152868F5C0E7}"/>
    <dgm:cxn modelId="{BC3E7142-EE0E-DE49-98B2-270D562EE795}" type="presOf" srcId="{33424807-C11D-7C4A-85E7-BB0E19ACD352}" destId="{44E963F3-2784-9E43-9E90-000EB562AE2A}" srcOrd="0" destOrd="0" presId="urn:microsoft.com/office/officeart/2005/8/layout/orgChart1"/>
    <dgm:cxn modelId="{3AD55C7D-4EF7-0541-8ED5-6D71E700E7EA}" type="presOf" srcId="{11B5AD18-48FD-6A4B-A82C-B8D0882BDFD5}" destId="{7C50BECD-9391-C544-9079-7DCA06B1B106}" srcOrd="0" destOrd="0" presId="urn:microsoft.com/office/officeart/2005/8/layout/orgChart1"/>
    <dgm:cxn modelId="{3DDDCB03-2A77-F249-B7D0-52E1EA9E8EAF}" type="presParOf" srcId="{30607E5D-7EC8-8446-AD48-AEEC633315C8}" destId="{01768E30-7C00-9D46-B106-9803EF77DB72}" srcOrd="0" destOrd="0" presId="urn:microsoft.com/office/officeart/2005/8/layout/orgChart1"/>
    <dgm:cxn modelId="{2DFC475E-7C9A-E54B-A800-4952B854B19F}" type="presParOf" srcId="{01768E30-7C00-9D46-B106-9803EF77DB72}" destId="{37E44035-6D06-FE4D-927A-CD14E98DC4F7}" srcOrd="0" destOrd="0" presId="urn:microsoft.com/office/officeart/2005/8/layout/orgChart1"/>
    <dgm:cxn modelId="{DF6EFC0D-672F-7D47-BC19-296EA1E9C1CA}" type="presParOf" srcId="{37E44035-6D06-FE4D-927A-CD14E98DC4F7}" destId="{06637420-A86F-4644-990A-75D86B7E454C}" srcOrd="0" destOrd="0" presId="urn:microsoft.com/office/officeart/2005/8/layout/orgChart1"/>
    <dgm:cxn modelId="{82FF2E0A-859F-0742-92BD-AD7EACA5BD34}" type="presParOf" srcId="{37E44035-6D06-FE4D-927A-CD14E98DC4F7}" destId="{466535D8-AEE6-1D47-974F-880041EEEAA5}" srcOrd="1" destOrd="0" presId="urn:microsoft.com/office/officeart/2005/8/layout/orgChart1"/>
    <dgm:cxn modelId="{9DFA554F-BB35-9044-883E-BE4CCE627535}" type="presParOf" srcId="{01768E30-7C00-9D46-B106-9803EF77DB72}" destId="{C176592F-E087-B04D-9588-EF6FC2F92869}" srcOrd="1" destOrd="0" presId="urn:microsoft.com/office/officeart/2005/8/layout/orgChart1"/>
    <dgm:cxn modelId="{3DF4A6B0-C5D0-D74E-9861-464D99A85666}" type="presParOf" srcId="{C176592F-E087-B04D-9588-EF6FC2F92869}" destId="{0F5D9B2B-0CE6-4D47-A7B6-80BAEBDC59FC}" srcOrd="0" destOrd="0" presId="urn:microsoft.com/office/officeart/2005/8/layout/orgChart1"/>
    <dgm:cxn modelId="{17CC444B-3CDC-2B44-B7D3-55A3F131D689}" type="presParOf" srcId="{C176592F-E087-B04D-9588-EF6FC2F92869}" destId="{0F65DF5F-EBEB-B343-9794-35C42F4DC89D}" srcOrd="1" destOrd="0" presId="urn:microsoft.com/office/officeart/2005/8/layout/orgChart1"/>
    <dgm:cxn modelId="{B302AA61-5E52-714B-B5EF-1A2CAD0B0C0A}" type="presParOf" srcId="{0F65DF5F-EBEB-B343-9794-35C42F4DC89D}" destId="{D29FBFF0-EB79-0F4F-8C4A-4AF2BBB0A047}" srcOrd="0" destOrd="0" presId="urn:microsoft.com/office/officeart/2005/8/layout/orgChart1"/>
    <dgm:cxn modelId="{5F69F015-188F-9A46-9142-65AD2591C573}" type="presParOf" srcId="{D29FBFF0-EB79-0F4F-8C4A-4AF2BBB0A047}" destId="{91D7ADA8-1475-9349-913E-9C2D53C1D7C9}" srcOrd="0" destOrd="0" presId="urn:microsoft.com/office/officeart/2005/8/layout/orgChart1"/>
    <dgm:cxn modelId="{CDAB585F-CE8E-584F-8B57-3EE81F6D9476}" type="presParOf" srcId="{D29FBFF0-EB79-0F4F-8C4A-4AF2BBB0A047}" destId="{A7DBADC9-C072-5C48-A3E3-552A2F42BAEE}" srcOrd="1" destOrd="0" presId="urn:microsoft.com/office/officeart/2005/8/layout/orgChart1"/>
    <dgm:cxn modelId="{F278923C-AAB2-4144-B10D-BE4F1C3AA9D2}" type="presParOf" srcId="{0F65DF5F-EBEB-B343-9794-35C42F4DC89D}" destId="{69158542-B581-0247-BAE6-60E62584FEB9}" srcOrd="1" destOrd="0" presId="urn:microsoft.com/office/officeart/2005/8/layout/orgChart1"/>
    <dgm:cxn modelId="{BDC655B8-0D9F-224F-A398-DEA6B5F4E28B}" type="presParOf" srcId="{69158542-B581-0247-BAE6-60E62584FEB9}" destId="{44E963F3-2784-9E43-9E90-000EB562AE2A}" srcOrd="0" destOrd="0" presId="urn:microsoft.com/office/officeart/2005/8/layout/orgChart1"/>
    <dgm:cxn modelId="{14179455-0AA1-CE40-9E37-9D0E852290C8}" type="presParOf" srcId="{69158542-B581-0247-BAE6-60E62584FEB9}" destId="{53955494-3838-2F45-BEBB-CE94816E60BA}" srcOrd="1" destOrd="0" presId="urn:microsoft.com/office/officeart/2005/8/layout/orgChart1"/>
    <dgm:cxn modelId="{3E46F730-5DF1-9F4C-8626-166347C1394E}" type="presParOf" srcId="{53955494-3838-2F45-BEBB-CE94816E60BA}" destId="{282371C0-CB9F-F142-BFE4-23129E24152E}" srcOrd="0" destOrd="0" presId="urn:microsoft.com/office/officeart/2005/8/layout/orgChart1"/>
    <dgm:cxn modelId="{B5A381C7-F24A-1544-A421-0FC4C0E4C271}" type="presParOf" srcId="{282371C0-CB9F-F142-BFE4-23129E24152E}" destId="{2ED78204-93EC-064C-823A-1586CD82394C}" srcOrd="0" destOrd="0" presId="urn:microsoft.com/office/officeart/2005/8/layout/orgChart1"/>
    <dgm:cxn modelId="{2CCE37B0-CA74-9942-8BDF-00CC3FA860DE}" type="presParOf" srcId="{282371C0-CB9F-F142-BFE4-23129E24152E}" destId="{36770380-7547-ED48-AB39-E00707E5AE49}" srcOrd="1" destOrd="0" presId="urn:microsoft.com/office/officeart/2005/8/layout/orgChart1"/>
    <dgm:cxn modelId="{55784E31-589F-3245-A9A6-F96C3A64CC48}" type="presParOf" srcId="{53955494-3838-2F45-BEBB-CE94816E60BA}" destId="{7FD810D4-2EE4-0A43-B7CD-AE490DD9C8B4}" srcOrd="1" destOrd="0" presId="urn:microsoft.com/office/officeart/2005/8/layout/orgChart1"/>
    <dgm:cxn modelId="{5A3B0FB2-5976-C843-9E77-9EE3DAEB310C}" type="presParOf" srcId="{53955494-3838-2F45-BEBB-CE94816E60BA}" destId="{A06DA4CD-7588-714E-AB31-0B7105F724FF}" srcOrd="2" destOrd="0" presId="urn:microsoft.com/office/officeart/2005/8/layout/orgChart1"/>
    <dgm:cxn modelId="{7C991BFE-3650-5D48-B403-4C4D4AD8DB72}" type="presParOf" srcId="{69158542-B581-0247-BAE6-60E62584FEB9}" destId="{88E2A4D5-E62D-B048-BDF2-2627D68216CE}" srcOrd="2" destOrd="0" presId="urn:microsoft.com/office/officeart/2005/8/layout/orgChart1"/>
    <dgm:cxn modelId="{157695B4-6563-CF42-A278-9508193DD890}" type="presParOf" srcId="{69158542-B581-0247-BAE6-60E62584FEB9}" destId="{C7C9DA51-6B03-C94F-93CB-D44D3137A8B1}" srcOrd="3" destOrd="0" presId="urn:microsoft.com/office/officeart/2005/8/layout/orgChart1"/>
    <dgm:cxn modelId="{A1FE4980-A84E-7542-962C-8BB3ABCF8AF8}" type="presParOf" srcId="{C7C9DA51-6B03-C94F-93CB-D44D3137A8B1}" destId="{CCCCC64E-4161-4D41-9593-1A4F78C7EF17}" srcOrd="0" destOrd="0" presId="urn:microsoft.com/office/officeart/2005/8/layout/orgChart1"/>
    <dgm:cxn modelId="{784D91C4-FD2E-C148-B9A5-D7FA2D2994EE}" type="presParOf" srcId="{CCCCC64E-4161-4D41-9593-1A4F78C7EF17}" destId="{3B98D480-5A9A-0A4D-8BDC-FE216FA48EE4}" srcOrd="0" destOrd="0" presId="urn:microsoft.com/office/officeart/2005/8/layout/orgChart1"/>
    <dgm:cxn modelId="{7DE533B0-D8FC-0045-894B-993C339C3636}" type="presParOf" srcId="{CCCCC64E-4161-4D41-9593-1A4F78C7EF17}" destId="{CCA6A030-3016-FB4D-BB2D-797B6CA6511F}" srcOrd="1" destOrd="0" presId="urn:microsoft.com/office/officeart/2005/8/layout/orgChart1"/>
    <dgm:cxn modelId="{F526EF7B-F4D8-104A-955B-47B82DB92D98}" type="presParOf" srcId="{C7C9DA51-6B03-C94F-93CB-D44D3137A8B1}" destId="{893D50E5-BFD6-374D-B623-8C8F06D30FB9}" srcOrd="1" destOrd="0" presId="urn:microsoft.com/office/officeart/2005/8/layout/orgChart1"/>
    <dgm:cxn modelId="{5F1A7C01-3398-6D44-8F65-2142C432D117}" type="presParOf" srcId="{C7C9DA51-6B03-C94F-93CB-D44D3137A8B1}" destId="{9A169D03-FEAA-964F-82BE-17DF2B44F83D}" srcOrd="2" destOrd="0" presId="urn:microsoft.com/office/officeart/2005/8/layout/orgChart1"/>
    <dgm:cxn modelId="{990EEDAD-95E6-104E-B1C3-7E6221F2ADEA}" type="presParOf" srcId="{69158542-B581-0247-BAE6-60E62584FEB9}" destId="{CDA8158C-1C6B-024B-9E64-1510DD2C7A55}" srcOrd="4" destOrd="0" presId="urn:microsoft.com/office/officeart/2005/8/layout/orgChart1"/>
    <dgm:cxn modelId="{5AE7E22C-0300-D046-8FBB-7DE9D9AAE3AF}" type="presParOf" srcId="{69158542-B581-0247-BAE6-60E62584FEB9}" destId="{86D1A16A-2EDC-7B49-BDD5-ADA121CED2D3}" srcOrd="5" destOrd="0" presId="urn:microsoft.com/office/officeart/2005/8/layout/orgChart1"/>
    <dgm:cxn modelId="{E75B5463-8153-9242-A6B4-5E0E44F0F1E7}" type="presParOf" srcId="{86D1A16A-2EDC-7B49-BDD5-ADA121CED2D3}" destId="{64FB60A2-29ED-0C42-82BE-AEF32C4DEBD0}" srcOrd="0" destOrd="0" presId="urn:microsoft.com/office/officeart/2005/8/layout/orgChart1"/>
    <dgm:cxn modelId="{753A22C5-EB87-5943-AE15-5A182095A21E}" type="presParOf" srcId="{64FB60A2-29ED-0C42-82BE-AEF32C4DEBD0}" destId="{2C0E0A56-4821-5340-9545-5653DBEF3E82}" srcOrd="0" destOrd="0" presId="urn:microsoft.com/office/officeart/2005/8/layout/orgChart1"/>
    <dgm:cxn modelId="{D2943EF4-4C3B-B945-A721-2FA2001B1E56}" type="presParOf" srcId="{64FB60A2-29ED-0C42-82BE-AEF32C4DEBD0}" destId="{10D8D681-CBDA-D246-9198-063E1F1463D5}" srcOrd="1" destOrd="0" presId="urn:microsoft.com/office/officeart/2005/8/layout/orgChart1"/>
    <dgm:cxn modelId="{2D46B2D7-C9F1-7546-ADA5-34A232E71B1F}" type="presParOf" srcId="{86D1A16A-2EDC-7B49-BDD5-ADA121CED2D3}" destId="{CC9BABF7-5A8C-E043-A639-9D9F60E49EB2}" srcOrd="1" destOrd="0" presId="urn:microsoft.com/office/officeart/2005/8/layout/orgChart1"/>
    <dgm:cxn modelId="{EBC91CBC-BF18-9C48-845A-DD8B64F64423}" type="presParOf" srcId="{86D1A16A-2EDC-7B49-BDD5-ADA121CED2D3}" destId="{CE13E513-7EF6-3C4A-BF03-7E569F8E0EFD}" srcOrd="2" destOrd="0" presId="urn:microsoft.com/office/officeart/2005/8/layout/orgChart1"/>
    <dgm:cxn modelId="{DAF56E09-48D1-484A-A5BF-14AB6089CC9C}" type="presParOf" srcId="{0F65DF5F-EBEB-B343-9794-35C42F4DC89D}" destId="{99494E59-30AF-C84C-8FAD-74D70922C5BB}" srcOrd="2" destOrd="0" presId="urn:microsoft.com/office/officeart/2005/8/layout/orgChart1"/>
    <dgm:cxn modelId="{5AD2E2F9-7D99-264B-9857-442AD3F1B4E0}" type="presParOf" srcId="{C176592F-E087-B04D-9588-EF6FC2F92869}" destId="{6AB3DB73-5383-E944-8E93-5490DBAC07ED}" srcOrd="2" destOrd="0" presId="urn:microsoft.com/office/officeart/2005/8/layout/orgChart1"/>
    <dgm:cxn modelId="{F750C77D-3680-5C4F-ADEC-81B946CA7B8C}" type="presParOf" srcId="{C176592F-E087-B04D-9588-EF6FC2F92869}" destId="{063E0CF9-7144-D34B-96D0-290257049F24}" srcOrd="3" destOrd="0" presId="urn:microsoft.com/office/officeart/2005/8/layout/orgChart1"/>
    <dgm:cxn modelId="{7B5E66CB-1C6D-A54D-A16C-F424BADDCB2C}" type="presParOf" srcId="{063E0CF9-7144-D34B-96D0-290257049F24}" destId="{9D7957A4-BCF4-A64B-9FA8-89318DD7C26C}" srcOrd="0" destOrd="0" presId="urn:microsoft.com/office/officeart/2005/8/layout/orgChart1"/>
    <dgm:cxn modelId="{C73502A8-950D-114B-BDC4-1FCF7CA6F388}" type="presParOf" srcId="{9D7957A4-BCF4-A64B-9FA8-89318DD7C26C}" destId="{6A1B3FF2-4302-AB42-9144-D0C7AF33189D}" srcOrd="0" destOrd="0" presId="urn:microsoft.com/office/officeart/2005/8/layout/orgChart1"/>
    <dgm:cxn modelId="{63D0AE9D-0F8F-374F-9F95-758363126DB5}" type="presParOf" srcId="{9D7957A4-BCF4-A64B-9FA8-89318DD7C26C}" destId="{A8476105-19F1-B646-B233-7DFE7667D28F}" srcOrd="1" destOrd="0" presId="urn:microsoft.com/office/officeart/2005/8/layout/orgChart1"/>
    <dgm:cxn modelId="{0180C99A-0E35-F642-A06E-D14DEDC53A7A}" type="presParOf" srcId="{063E0CF9-7144-D34B-96D0-290257049F24}" destId="{DB85212C-909C-BE4F-9C57-AA092C9F8F68}" srcOrd="1" destOrd="0" presId="urn:microsoft.com/office/officeart/2005/8/layout/orgChart1"/>
    <dgm:cxn modelId="{86861D49-5278-1F40-BB44-72C6EFBDAE57}" type="presParOf" srcId="{DB85212C-909C-BE4F-9C57-AA092C9F8F68}" destId="{FCB70BC6-8BC2-7740-8498-E09039141FAE}" srcOrd="0" destOrd="0" presId="urn:microsoft.com/office/officeart/2005/8/layout/orgChart1"/>
    <dgm:cxn modelId="{3648BC67-7B01-F542-96B3-4A85C77F193F}" type="presParOf" srcId="{DB85212C-909C-BE4F-9C57-AA092C9F8F68}" destId="{8A2CB56E-93D1-874C-81A9-9FAC0DA015D2}" srcOrd="1" destOrd="0" presId="urn:microsoft.com/office/officeart/2005/8/layout/orgChart1"/>
    <dgm:cxn modelId="{292D2B1C-822D-7144-AF2C-8B0388DD4C9E}" type="presParOf" srcId="{8A2CB56E-93D1-874C-81A9-9FAC0DA015D2}" destId="{56803695-D01D-974E-959F-E4FC5996044F}" srcOrd="0" destOrd="0" presId="urn:microsoft.com/office/officeart/2005/8/layout/orgChart1"/>
    <dgm:cxn modelId="{B7D46266-B2AC-BA4E-BAB7-010E399D8462}" type="presParOf" srcId="{56803695-D01D-974E-959F-E4FC5996044F}" destId="{22959F47-69F7-D445-9334-5C7C176A2653}" srcOrd="0" destOrd="0" presId="urn:microsoft.com/office/officeart/2005/8/layout/orgChart1"/>
    <dgm:cxn modelId="{7869306E-BFE5-8144-BC0E-FD6587674918}" type="presParOf" srcId="{56803695-D01D-974E-959F-E4FC5996044F}" destId="{8C060B5F-BBBF-2049-9E6B-A69B2A074D8E}" srcOrd="1" destOrd="0" presId="urn:microsoft.com/office/officeart/2005/8/layout/orgChart1"/>
    <dgm:cxn modelId="{10E0FA02-D91C-1C46-B263-37EEF6828FE8}" type="presParOf" srcId="{8A2CB56E-93D1-874C-81A9-9FAC0DA015D2}" destId="{175F2BE5-9841-E24D-8258-D4DAB9588C96}" srcOrd="1" destOrd="0" presId="urn:microsoft.com/office/officeart/2005/8/layout/orgChart1"/>
    <dgm:cxn modelId="{73065E92-9C99-6140-B3B0-6C3F7FBAF4BE}" type="presParOf" srcId="{8A2CB56E-93D1-874C-81A9-9FAC0DA015D2}" destId="{6C96FA0A-0A57-4A45-A656-B89BDED585EB}" srcOrd="2" destOrd="0" presId="urn:microsoft.com/office/officeart/2005/8/layout/orgChart1"/>
    <dgm:cxn modelId="{4C3F6642-057F-034D-8AAB-558868A9DA4B}" type="presParOf" srcId="{DB85212C-909C-BE4F-9C57-AA092C9F8F68}" destId="{6CD5F04D-881E-FF45-840F-9065F725359E}" srcOrd="2" destOrd="0" presId="urn:microsoft.com/office/officeart/2005/8/layout/orgChart1"/>
    <dgm:cxn modelId="{1AC328B0-D8EF-2647-9972-05470A734395}" type="presParOf" srcId="{DB85212C-909C-BE4F-9C57-AA092C9F8F68}" destId="{EEB1F1F6-A420-3B4D-83C3-44A0874B3872}" srcOrd="3" destOrd="0" presId="urn:microsoft.com/office/officeart/2005/8/layout/orgChart1"/>
    <dgm:cxn modelId="{B19B8919-1002-C54A-9494-E44678838BCE}" type="presParOf" srcId="{EEB1F1F6-A420-3B4D-83C3-44A0874B3872}" destId="{866BA078-C3D3-2F4C-A7CC-2903AAEBC56E}" srcOrd="0" destOrd="0" presId="urn:microsoft.com/office/officeart/2005/8/layout/orgChart1"/>
    <dgm:cxn modelId="{21C3709A-3DAE-9C44-A82F-ECCF00913D6F}" type="presParOf" srcId="{866BA078-C3D3-2F4C-A7CC-2903AAEBC56E}" destId="{35471471-CB84-0746-BDD4-1655B6C5471A}" srcOrd="0" destOrd="0" presId="urn:microsoft.com/office/officeart/2005/8/layout/orgChart1"/>
    <dgm:cxn modelId="{391933DD-3506-214C-9AEF-2638999619C6}" type="presParOf" srcId="{866BA078-C3D3-2F4C-A7CC-2903AAEBC56E}" destId="{BF48F31E-442A-8542-BEC6-8A1283ECC0DC}" srcOrd="1" destOrd="0" presId="urn:microsoft.com/office/officeart/2005/8/layout/orgChart1"/>
    <dgm:cxn modelId="{5802B7E9-5310-744B-B596-AE2E891AC5C7}" type="presParOf" srcId="{EEB1F1F6-A420-3B4D-83C3-44A0874B3872}" destId="{2F554D91-DC1D-3A4B-BD01-7DD0FBADA47A}" srcOrd="1" destOrd="0" presId="urn:microsoft.com/office/officeart/2005/8/layout/orgChart1"/>
    <dgm:cxn modelId="{287A7765-C020-4443-866C-A34E051EF013}" type="presParOf" srcId="{EEB1F1F6-A420-3B4D-83C3-44A0874B3872}" destId="{5C57C97C-2160-274D-A8EF-85D36B4657F0}" srcOrd="2" destOrd="0" presId="urn:microsoft.com/office/officeart/2005/8/layout/orgChart1"/>
    <dgm:cxn modelId="{566DCEB5-6D1F-CD48-884D-0CB168949A62}" type="presParOf" srcId="{DB85212C-909C-BE4F-9C57-AA092C9F8F68}" destId="{2DC6FEB6-D342-A148-B4E4-3574392637D2}" srcOrd="4" destOrd="0" presId="urn:microsoft.com/office/officeart/2005/8/layout/orgChart1"/>
    <dgm:cxn modelId="{6BE82878-BCB6-5241-BA38-46ED69E91D4A}" type="presParOf" srcId="{DB85212C-909C-BE4F-9C57-AA092C9F8F68}" destId="{E7C14A77-D7F1-1E41-9F22-78FC6F14D5DD}" srcOrd="5" destOrd="0" presId="urn:microsoft.com/office/officeart/2005/8/layout/orgChart1"/>
    <dgm:cxn modelId="{456AE47C-B758-F744-8EBC-934D5AE91DE3}" type="presParOf" srcId="{E7C14A77-D7F1-1E41-9F22-78FC6F14D5DD}" destId="{345D217C-C154-0B4F-9496-F18800B28FFF}" srcOrd="0" destOrd="0" presId="urn:microsoft.com/office/officeart/2005/8/layout/orgChart1"/>
    <dgm:cxn modelId="{9C34B5B6-1679-F043-966B-809EDC76F616}" type="presParOf" srcId="{345D217C-C154-0B4F-9496-F18800B28FFF}" destId="{9276651D-6194-EA49-8E09-02C1BFFFA9D5}" srcOrd="0" destOrd="0" presId="urn:microsoft.com/office/officeart/2005/8/layout/orgChart1"/>
    <dgm:cxn modelId="{12ED9D27-FB71-F54D-B95C-7A3A4BE97EE4}" type="presParOf" srcId="{345D217C-C154-0B4F-9496-F18800B28FFF}" destId="{CD5ED238-8A46-9548-AD80-16CB05272A14}" srcOrd="1" destOrd="0" presId="urn:microsoft.com/office/officeart/2005/8/layout/orgChart1"/>
    <dgm:cxn modelId="{98AEB7FB-3F0C-D442-90CF-BD007FEF5804}" type="presParOf" srcId="{E7C14A77-D7F1-1E41-9F22-78FC6F14D5DD}" destId="{BDC06036-AFEF-8F4C-A1E3-0138032EDE75}" srcOrd="1" destOrd="0" presId="urn:microsoft.com/office/officeart/2005/8/layout/orgChart1"/>
    <dgm:cxn modelId="{62CC95C2-B2D4-F94F-9BDA-588B6761B193}" type="presParOf" srcId="{E7C14A77-D7F1-1E41-9F22-78FC6F14D5DD}" destId="{F44A321D-F93F-1847-9AAA-56093CB8396B}" srcOrd="2" destOrd="0" presId="urn:microsoft.com/office/officeart/2005/8/layout/orgChart1"/>
    <dgm:cxn modelId="{E58F0A4A-C9AB-F047-BBF9-14898D22456B}" type="presParOf" srcId="{063E0CF9-7144-D34B-96D0-290257049F24}" destId="{E7AD0A5D-E521-4D48-A5EC-9A4A203AF9D4}" srcOrd="2" destOrd="0" presId="urn:microsoft.com/office/officeart/2005/8/layout/orgChart1"/>
    <dgm:cxn modelId="{8D93E0DA-97F6-D24F-94C0-507326EDF463}" type="presParOf" srcId="{C176592F-E087-B04D-9588-EF6FC2F92869}" destId="{910491EA-604E-6842-9866-DF2E9CD33930}" srcOrd="4" destOrd="0" presId="urn:microsoft.com/office/officeart/2005/8/layout/orgChart1"/>
    <dgm:cxn modelId="{50D2802A-238E-7F4E-916A-68B49B4DD18B}" type="presParOf" srcId="{C176592F-E087-B04D-9588-EF6FC2F92869}" destId="{4F6E76D3-53FC-9B40-84F9-F7C25AED53E4}" srcOrd="5" destOrd="0" presId="urn:microsoft.com/office/officeart/2005/8/layout/orgChart1"/>
    <dgm:cxn modelId="{2AB47532-49C7-454A-81BE-B49B96211C2C}" type="presParOf" srcId="{4F6E76D3-53FC-9B40-84F9-F7C25AED53E4}" destId="{71838188-1DD8-7345-B5E8-F0FD31F9988C}" srcOrd="0" destOrd="0" presId="urn:microsoft.com/office/officeart/2005/8/layout/orgChart1"/>
    <dgm:cxn modelId="{C416E892-3FC6-1B40-9CF1-3C97844993BA}" type="presParOf" srcId="{71838188-1DD8-7345-B5E8-F0FD31F9988C}" destId="{C98D4C05-6DFD-F848-8831-CA53C562EFA9}" srcOrd="0" destOrd="0" presId="urn:microsoft.com/office/officeart/2005/8/layout/orgChart1"/>
    <dgm:cxn modelId="{72B1F18B-B44E-C042-8039-FA4CA68CC514}" type="presParOf" srcId="{71838188-1DD8-7345-B5E8-F0FD31F9988C}" destId="{8249A152-56BE-E046-8A45-0C56C7C1D191}" srcOrd="1" destOrd="0" presId="urn:microsoft.com/office/officeart/2005/8/layout/orgChart1"/>
    <dgm:cxn modelId="{69ED7AD4-DE4A-294D-B81F-400EC01CC1B3}" type="presParOf" srcId="{4F6E76D3-53FC-9B40-84F9-F7C25AED53E4}" destId="{936D50A9-CCB4-4945-945B-85E46E6A9010}" srcOrd="1" destOrd="0" presId="urn:microsoft.com/office/officeart/2005/8/layout/orgChart1"/>
    <dgm:cxn modelId="{D44650F7-C403-0142-BCB4-17653E5CA6C1}" type="presParOf" srcId="{936D50A9-CCB4-4945-945B-85E46E6A9010}" destId="{D62CB30F-6901-594F-8775-B46F34227BC9}" srcOrd="0" destOrd="0" presId="urn:microsoft.com/office/officeart/2005/8/layout/orgChart1"/>
    <dgm:cxn modelId="{40061AEC-8E6B-DB40-AA63-BFC9FA67BF1C}" type="presParOf" srcId="{936D50A9-CCB4-4945-945B-85E46E6A9010}" destId="{2A1E62F8-D51C-B44A-BD70-E6C65A68DCCB}" srcOrd="1" destOrd="0" presId="urn:microsoft.com/office/officeart/2005/8/layout/orgChart1"/>
    <dgm:cxn modelId="{566F51B6-147E-0842-8D5F-3D912E4E3F57}" type="presParOf" srcId="{2A1E62F8-D51C-B44A-BD70-E6C65A68DCCB}" destId="{F9703759-1D98-084A-B066-79D5FA0B0817}" srcOrd="0" destOrd="0" presId="urn:microsoft.com/office/officeart/2005/8/layout/orgChart1"/>
    <dgm:cxn modelId="{D56BC425-7442-084F-AF25-06597C29C21D}" type="presParOf" srcId="{F9703759-1D98-084A-B066-79D5FA0B0817}" destId="{7AAAE15D-9C55-1D43-B8B7-B04F0D48EABD}" srcOrd="0" destOrd="0" presId="urn:microsoft.com/office/officeart/2005/8/layout/orgChart1"/>
    <dgm:cxn modelId="{A927DC7A-702B-FD43-BCAF-1B6379F28C91}" type="presParOf" srcId="{F9703759-1D98-084A-B066-79D5FA0B0817}" destId="{C8CB1346-EB34-094E-8B3A-28042614FB03}" srcOrd="1" destOrd="0" presId="urn:microsoft.com/office/officeart/2005/8/layout/orgChart1"/>
    <dgm:cxn modelId="{74217C16-7821-3346-856A-F9A5287DC324}" type="presParOf" srcId="{2A1E62F8-D51C-B44A-BD70-E6C65A68DCCB}" destId="{C07159A7-2612-CB43-B1EE-FC2609E7E9AD}" srcOrd="1" destOrd="0" presId="urn:microsoft.com/office/officeart/2005/8/layout/orgChart1"/>
    <dgm:cxn modelId="{F29D6DE8-EF49-ED48-AB1F-28AA86ED686E}" type="presParOf" srcId="{2A1E62F8-D51C-B44A-BD70-E6C65A68DCCB}" destId="{B9C12C8A-E3B4-7940-B9D7-DB49D619BCB5}" srcOrd="2" destOrd="0" presId="urn:microsoft.com/office/officeart/2005/8/layout/orgChart1"/>
    <dgm:cxn modelId="{B96495F1-62DA-7547-89BB-E403F37B3B05}" type="presParOf" srcId="{936D50A9-CCB4-4945-945B-85E46E6A9010}" destId="{129F0079-A483-7E48-A321-97C36DBA0475}" srcOrd="2" destOrd="0" presId="urn:microsoft.com/office/officeart/2005/8/layout/orgChart1"/>
    <dgm:cxn modelId="{04F1E162-792F-EA4A-BE92-5F1DA19F80ED}" type="presParOf" srcId="{936D50A9-CCB4-4945-945B-85E46E6A9010}" destId="{505AFEB6-44FD-0948-86B1-1EBBFB7AD6E8}" srcOrd="3" destOrd="0" presId="urn:microsoft.com/office/officeart/2005/8/layout/orgChart1"/>
    <dgm:cxn modelId="{8BBBDD1D-2D61-B647-8C4E-99FB4F5D7B99}" type="presParOf" srcId="{505AFEB6-44FD-0948-86B1-1EBBFB7AD6E8}" destId="{898B3C27-79E5-B94F-AB28-34998FE8B917}" srcOrd="0" destOrd="0" presId="urn:microsoft.com/office/officeart/2005/8/layout/orgChart1"/>
    <dgm:cxn modelId="{0F410790-3E2C-3C43-83B7-B0DE8E318AFC}" type="presParOf" srcId="{898B3C27-79E5-B94F-AB28-34998FE8B917}" destId="{7C50BECD-9391-C544-9079-7DCA06B1B106}" srcOrd="0" destOrd="0" presId="urn:microsoft.com/office/officeart/2005/8/layout/orgChart1"/>
    <dgm:cxn modelId="{F05DC079-C51C-1E4A-8874-E2C26CB9DDA4}" type="presParOf" srcId="{898B3C27-79E5-B94F-AB28-34998FE8B917}" destId="{35D57237-8BFB-E945-A7A7-3C3A20E1DD9C}" srcOrd="1" destOrd="0" presId="urn:microsoft.com/office/officeart/2005/8/layout/orgChart1"/>
    <dgm:cxn modelId="{57C7ED6C-88FC-6748-A2E4-60262516B76E}" type="presParOf" srcId="{505AFEB6-44FD-0948-86B1-1EBBFB7AD6E8}" destId="{9742A4E0-8FBD-7543-97A8-E98A936FD000}" srcOrd="1" destOrd="0" presId="urn:microsoft.com/office/officeart/2005/8/layout/orgChart1"/>
    <dgm:cxn modelId="{262B1F5A-3CB2-8F45-99EA-FB89FA669B8F}" type="presParOf" srcId="{505AFEB6-44FD-0948-86B1-1EBBFB7AD6E8}" destId="{7BE38307-1708-2D4C-8A04-E67A64FA40B2}" srcOrd="2" destOrd="0" presId="urn:microsoft.com/office/officeart/2005/8/layout/orgChart1"/>
    <dgm:cxn modelId="{4C6CE3F7-E5C9-684D-AFF0-A203A7093DDF}" type="presParOf" srcId="{936D50A9-CCB4-4945-945B-85E46E6A9010}" destId="{5030E2EE-B0D1-364F-B6DF-876E246B6AE1}" srcOrd="4" destOrd="0" presId="urn:microsoft.com/office/officeart/2005/8/layout/orgChart1"/>
    <dgm:cxn modelId="{81DA7F45-B6B0-0A4B-AFC6-3D04AB546E2F}" type="presParOf" srcId="{936D50A9-CCB4-4945-945B-85E46E6A9010}" destId="{3BF92A3B-B68B-8F4A-ACDB-61F48235A59F}" srcOrd="5" destOrd="0" presId="urn:microsoft.com/office/officeart/2005/8/layout/orgChart1"/>
    <dgm:cxn modelId="{363618B9-5C2A-A24D-B8BD-3B408F54B76A}" type="presParOf" srcId="{3BF92A3B-B68B-8F4A-ACDB-61F48235A59F}" destId="{B998F742-4147-FB46-B213-304B069DACB0}" srcOrd="0" destOrd="0" presId="urn:microsoft.com/office/officeart/2005/8/layout/orgChart1"/>
    <dgm:cxn modelId="{78145817-0410-9449-B828-09DFF3377F40}" type="presParOf" srcId="{B998F742-4147-FB46-B213-304B069DACB0}" destId="{C8DB6E88-65AB-3947-BF5E-D30F973C203C}" srcOrd="0" destOrd="0" presId="urn:microsoft.com/office/officeart/2005/8/layout/orgChart1"/>
    <dgm:cxn modelId="{A03815F5-82A0-1247-B5B8-B7E83A8007E0}" type="presParOf" srcId="{B998F742-4147-FB46-B213-304B069DACB0}" destId="{62108426-B799-194D-AB78-22283909E5A2}" srcOrd="1" destOrd="0" presId="urn:microsoft.com/office/officeart/2005/8/layout/orgChart1"/>
    <dgm:cxn modelId="{2D8416E2-EC9C-444B-B9AC-7D09CF7BBE73}" type="presParOf" srcId="{3BF92A3B-B68B-8F4A-ACDB-61F48235A59F}" destId="{60AB16CA-A0FA-E548-A598-8F4F677A192B}" srcOrd="1" destOrd="0" presId="urn:microsoft.com/office/officeart/2005/8/layout/orgChart1"/>
    <dgm:cxn modelId="{37593F73-64D5-A04B-B98D-E4FA817C944D}" type="presParOf" srcId="{3BF92A3B-B68B-8F4A-ACDB-61F48235A59F}" destId="{360B2E77-F622-5945-8392-2B887285C669}" srcOrd="2" destOrd="0" presId="urn:microsoft.com/office/officeart/2005/8/layout/orgChart1"/>
    <dgm:cxn modelId="{F63C26D1-31D8-2642-8E08-07FE3DBC31C3}" type="presParOf" srcId="{4F6E76D3-53FC-9B40-84F9-F7C25AED53E4}" destId="{0E88A329-C564-C840-B127-2181CD7549E6}" srcOrd="2" destOrd="0" presId="urn:microsoft.com/office/officeart/2005/8/layout/orgChart1"/>
    <dgm:cxn modelId="{BD1D47DA-17DE-644F-9F8C-8C3F202F04AD}" type="presParOf" srcId="{C176592F-E087-B04D-9588-EF6FC2F92869}" destId="{323D0151-0AF0-7A44-BCE6-C10462839127}" srcOrd="6" destOrd="0" presId="urn:microsoft.com/office/officeart/2005/8/layout/orgChart1"/>
    <dgm:cxn modelId="{7046E1F8-FA81-0445-ABB5-96B57D932E9B}" type="presParOf" srcId="{C176592F-E087-B04D-9588-EF6FC2F92869}" destId="{C0502B14-1B52-7042-ACC0-DA1514170E49}" srcOrd="7" destOrd="0" presId="urn:microsoft.com/office/officeart/2005/8/layout/orgChart1"/>
    <dgm:cxn modelId="{9B3CE99A-4493-FD4F-B2ED-EBDDE5D5EF2D}" type="presParOf" srcId="{C0502B14-1B52-7042-ACC0-DA1514170E49}" destId="{124E14D1-547A-F840-A53B-8C32D7C0E093}" srcOrd="0" destOrd="0" presId="urn:microsoft.com/office/officeart/2005/8/layout/orgChart1"/>
    <dgm:cxn modelId="{CE2C63BE-9E67-A34D-9493-E65E9BBBEC69}" type="presParOf" srcId="{124E14D1-547A-F840-A53B-8C32D7C0E093}" destId="{F63DB975-E825-ED40-9ED5-8EF8047133DC}" srcOrd="0" destOrd="0" presId="urn:microsoft.com/office/officeart/2005/8/layout/orgChart1"/>
    <dgm:cxn modelId="{5BE3D9BC-9D97-6E41-819D-C691EE968197}" type="presParOf" srcId="{124E14D1-547A-F840-A53B-8C32D7C0E093}" destId="{448BE257-6BD3-154B-8455-7442213A9C1F}" srcOrd="1" destOrd="0" presId="urn:microsoft.com/office/officeart/2005/8/layout/orgChart1"/>
    <dgm:cxn modelId="{A3A35AC6-C63E-E947-9BBC-9F84F2294A4D}" type="presParOf" srcId="{C0502B14-1B52-7042-ACC0-DA1514170E49}" destId="{068F8C37-46EE-4847-A292-C25509F10E4F}" srcOrd="1" destOrd="0" presId="urn:microsoft.com/office/officeart/2005/8/layout/orgChart1"/>
    <dgm:cxn modelId="{AD888DDE-AF76-B146-A70E-B70CD0084E11}" type="presParOf" srcId="{068F8C37-46EE-4847-A292-C25509F10E4F}" destId="{7B5B0F12-5DDA-9943-9092-2A10F2FE9601}" srcOrd="0" destOrd="0" presId="urn:microsoft.com/office/officeart/2005/8/layout/orgChart1"/>
    <dgm:cxn modelId="{D8FAABA5-42F4-7B48-B0BA-10825445E70A}" type="presParOf" srcId="{068F8C37-46EE-4847-A292-C25509F10E4F}" destId="{416A776B-95CC-6242-82B8-F3477537D01B}" srcOrd="1" destOrd="0" presId="urn:microsoft.com/office/officeart/2005/8/layout/orgChart1"/>
    <dgm:cxn modelId="{9D2063D7-211B-C748-A280-5720D693BB69}" type="presParOf" srcId="{416A776B-95CC-6242-82B8-F3477537D01B}" destId="{B3872BE2-32B6-FA4E-AD30-FDDA357E030B}" srcOrd="0" destOrd="0" presId="urn:microsoft.com/office/officeart/2005/8/layout/orgChart1"/>
    <dgm:cxn modelId="{7158CB59-E28B-3943-B52C-232773F39BC2}" type="presParOf" srcId="{B3872BE2-32B6-FA4E-AD30-FDDA357E030B}" destId="{BD45870A-B3FE-4649-A1E8-44ABA898ACEB}" srcOrd="0" destOrd="0" presId="urn:microsoft.com/office/officeart/2005/8/layout/orgChart1"/>
    <dgm:cxn modelId="{16FEF0AD-8EA4-1544-BB8B-E449D6CDEFA3}" type="presParOf" srcId="{B3872BE2-32B6-FA4E-AD30-FDDA357E030B}" destId="{6D27B739-9A5A-FE45-BC1E-B91110B18E69}" srcOrd="1" destOrd="0" presId="urn:microsoft.com/office/officeart/2005/8/layout/orgChart1"/>
    <dgm:cxn modelId="{15BCE615-0947-364D-9490-8A90D53F42B2}" type="presParOf" srcId="{416A776B-95CC-6242-82B8-F3477537D01B}" destId="{E0AA5810-09FE-6F49-9E01-C37893D5B99E}" srcOrd="1" destOrd="0" presId="urn:microsoft.com/office/officeart/2005/8/layout/orgChart1"/>
    <dgm:cxn modelId="{21D58A8E-0EB5-E94B-B1A3-122733AA1F3D}" type="presParOf" srcId="{416A776B-95CC-6242-82B8-F3477537D01B}" destId="{67B38412-62E0-F041-A9A6-EEB827EE7287}" srcOrd="2" destOrd="0" presId="urn:microsoft.com/office/officeart/2005/8/layout/orgChart1"/>
    <dgm:cxn modelId="{228EEB92-F6C9-5C4A-BC35-8B9A15AE4858}" type="presParOf" srcId="{068F8C37-46EE-4847-A292-C25509F10E4F}" destId="{4C9BEE53-E580-D245-BCCD-590C85D76065}" srcOrd="2" destOrd="0" presId="urn:microsoft.com/office/officeart/2005/8/layout/orgChart1"/>
    <dgm:cxn modelId="{68C36A11-0E46-354E-BF32-E588A15AA814}" type="presParOf" srcId="{068F8C37-46EE-4847-A292-C25509F10E4F}" destId="{084F8B06-8855-B74B-A705-6E163C44E754}" srcOrd="3" destOrd="0" presId="urn:microsoft.com/office/officeart/2005/8/layout/orgChart1"/>
    <dgm:cxn modelId="{AD468A74-3D92-734E-8B4E-0C572427A7CD}" type="presParOf" srcId="{084F8B06-8855-B74B-A705-6E163C44E754}" destId="{9EA94B24-EF62-6646-8B44-17764E9A462E}" srcOrd="0" destOrd="0" presId="urn:microsoft.com/office/officeart/2005/8/layout/orgChart1"/>
    <dgm:cxn modelId="{F644CDED-179B-DA4C-A7BC-65F2F3C1BE64}" type="presParOf" srcId="{9EA94B24-EF62-6646-8B44-17764E9A462E}" destId="{667C8B84-66F0-D04D-AF88-0F329C747158}" srcOrd="0" destOrd="0" presId="urn:microsoft.com/office/officeart/2005/8/layout/orgChart1"/>
    <dgm:cxn modelId="{62D70C25-A8B3-6D48-AE8F-B81FC9A1143B}" type="presParOf" srcId="{9EA94B24-EF62-6646-8B44-17764E9A462E}" destId="{C032D471-E31D-BF47-90BC-0B75D3183438}" srcOrd="1" destOrd="0" presId="urn:microsoft.com/office/officeart/2005/8/layout/orgChart1"/>
    <dgm:cxn modelId="{5A310073-B41A-A949-BC3B-79E0D2FAC359}" type="presParOf" srcId="{084F8B06-8855-B74B-A705-6E163C44E754}" destId="{50D7A7D7-B247-0241-B930-203B902594B5}" srcOrd="1" destOrd="0" presId="urn:microsoft.com/office/officeart/2005/8/layout/orgChart1"/>
    <dgm:cxn modelId="{DB45B2B4-0B66-4C4A-A5C9-5E9F67A762CE}" type="presParOf" srcId="{084F8B06-8855-B74B-A705-6E163C44E754}" destId="{6067EBE2-5843-6D4C-941B-5FB3692E75F9}" srcOrd="2" destOrd="0" presId="urn:microsoft.com/office/officeart/2005/8/layout/orgChart1"/>
    <dgm:cxn modelId="{5E2703EA-9931-B043-98CA-A91BD198A6FB}" type="presParOf" srcId="{068F8C37-46EE-4847-A292-C25509F10E4F}" destId="{EBF62F60-4DCC-6C46-AE65-EDFFE870F1F4}" srcOrd="4" destOrd="0" presId="urn:microsoft.com/office/officeart/2005/8/layout/orgChart1"/>
    <dgm:cxn modelId="{62CA1126-0263-1046-AB37-C950A394542D}" type="presParOf" srcId="{068F8C37-46EE-4847-A292-C25509F10E4F}" destId="{93533B26-364F-014E-A891-6D8442BBCE18}" srcOrd="5" destOrd="0" presId="urn:microsoft.com/office/officeart/2005/8/layout/orgChart1"/>
    <dgm:cxn modelId="{E4A72659-E0DA-6D4C-B971-E0DB63240FDB}" type="presParOf" srcId="{93533B26-364F-014E-A891-6D8442BBCE18}" destId="{DB4AF111-B912-8448-ABAC-05FC566DF87E}" srcOrd="0" destOrd="0" presId="urn:microsoft.com/office/officeart/2005/8/layout/orgChart1"/>
    <dgm:cxn modelId="{18DB4362-41D5-5744-B1D5-7B3533DB1418}" type="presParOf" srcId="{DB4AF111-B912-8448-ABAC-05FC566DF87E}" destId="{0B86221D-B7E4-B74C-ACB9-8C43A9AE47F7}" srcOrd="0" destOrd="0" presId="urn:microsoft.com/office/officeart/2005/8/layout/orgChart1"/>
    <dgm:cxn modelId="{7A128D32-E20E-DC40-B25F-A5E1DE1B781F}" type="presParOf" srcId="{DB4AF111-B912-8448-ABAC-05FC566DF87E}" destId="{B9CC71A5-3834-534E-9ECE-601DD70734B2}" srcOrd="1" destOrd="0" presId="urn:microsoft.com/office/officeart/2005/8/layout/orgChart1"/>
    <dgm:cxn modelId="{44AFA64E-0B4D-E246-8DFF-6D2FCF4A0895}" type="presParOf" srcId="{93533B26-364F-014E-A891-6D8442BBCE18}" destId="{22A0A11E-34BD-0442-BCA0-44161B492947}" srcOrd="1" destOrd="0" presId="urn:microsoft.com/office/officeart/2005/8/layout/orgChart1"/>
    <dgm:cxn modelId="{93857792-4431-CB49-B0AB-0035345F5274}" type="presParOf" srcId="{93533B26-364F-014E-A891-6D8442BBCE18}" destId="{A1799FD4-5B2F-1C41-B7C0-8BBFCD6F98DD}" srcOrd="2" destOrd="0" presId="urn:microsoft.com/office/officeart/2005/8/layout/orgChart1"/>
    <dgm:cxn modelId="{52CDEA47-BFC6-D04F-878F-9C6B411F9FD4}" type="presParOf" srcId="{C0502B14-1B52-7042-ACC0-DA1514170E49}" destId="{9E34D8F1-0307-C841-BE9B-4EB460341C22}" srcOrd="2" destOrd="0" presId="urn:microsoft.com/office/officeart/2005/8/layout/orgChart1"/>
    <dgm:cxn modelId="{F9B23EF0-6C9E-FE4A-9C35-BF076A2C613E}" type="presParOf" srcId="{C176592F-E087-B04D-9588-EF6FC2F92869}" destId="{1480E8B4-F1B6-8246-9806-7D2D0CB68815}" srcOrd="8" destOrd="0" presId="urn:microsoft.com/office/officeart/2005/8/layout/orgChart1"/>
    <dgm:cxn modelId="{E3C49F48-C13F-8A48-937F-244C030553EE}" type="presParOf" srcId="{C176592F-E087-B04D-9588-EF6FC2F92869}" destId="{38784AEE-09B7-0C47-8227-D02D0F1EDC40}" srcOrd="9" destOrd="0" presId="urn:microsoft.com/office/officeart/2005/8/layout/orgChart1"/>
    <dgm:cxn modelId="{4AB24A07-A886-AF4A-84E6-CF2A35EC845C}" type="presParOf" srcId="{38784AEE-09B7-0C47-8227-D02D0F1EDC40}" destId="{1B5211C4-1365-1640-A178-1D467A02D08A}" srcOrd="0" destOrd="0" presId="urn:microsoft.com/office/officeart/2005/8/layout/orgChart1"/>
    <dgm:cxn modelId="{78F54E58-5772-6745-8FB0-DA3559587888}" type="presParOf" srcId="{1B5211C4-1365-1640-A178-1D467A02D08A}" destId="{572E3CDC-5D66-514E-8912-D04551846EC7}" srcOrd="0" destOrd="0" presId="urn:microsoft.com/office/officeart/2005/8/layout/orgChart1"/>
    <dgm:cxn modelId="{CD7C0E32-C1E0-B04B-AF96-DFFD913F2ED5}" type="presParOf" srcId="{1B5211C4-1365-1640-A178-1D467A02D08A}" destId="{64829248-69CA-0B4E-875C-600221CC892E}" srcOrd="1" destOrd="0" presId="urn:microsoft.com/office/officeart/2005/8/layout/orgChart1"/>
    <dgm:cxn modelId="{B3B55BB5-6083-234B-B45E-2DEF34B9549B}" type="presParOf" srcId="{38784AEE-09B7-0C47-8227-D02D0F1EDC40}" destId="{EB7C6A82-1BAB-C84F-ABFF-4175D1E01329}" srcOrd="1" destOrd="0" presId="urn:microsoft.com/office/officeart/2005/8/layout/orgChart1"/>
    <dgm:cxn modelId="{D63DAEA3-5302-244B-B504-21D51553A469}" type="presParOf" srcId="{EB7C6A82-1BAB-C84F-ABFF-4175D1E01329}" destId="{44F6E45F-C07E-304C-AB67-8E8552A42778}" srcOrd="0" destOrd="0" presId="urn:microsoft.com/office/officeart/2005/8/layout/orgChart1"/>
    <dgm:cxn modelId="{FB395F43-DABD-134D-B785-A600572429EB}" type="presParOf" srcId="{EB7C6A82-1BAB-C84F-ABFF-4175D1E01329}" destId="{2208A308-1D10-494E-B09E-F544AF8068C3}" srcOrd="1" destOrd="0" presId="urn:microsoft.com/office/officeart/2005/8/layout/orgChart1"/>
    <dgm:cxn modelId="{15F4F296-1814-BA48-A707-FFCEF5AFCAB2}" type="presParOf" srcId="{2208A308-1D10-494E-B09E-F544AF8068C3}" destId="{52F1A2B4-5B26-7844-A417-F9A302DD4377}" srcOrd="0" destOrd="0" presId="urn:microsoft.com/office/officeart/2005/8/layout/orgChart1"/>
    <dgm:cxn modelId="{B86904FD-7B65-D440-832F-5D7765097F4A}" type="presParOf" srcId="{52F1A2B4-5B26-7844-A417-F9A302DD4377}" destId="{312925C6-1321-8C4D-8ECE-565EBD85AA53}" srcOrd="0" destOrd="0" presId="urn:microsoft.com/office/officeart/2005/8/layout/orgChart1"/>
    <dgm:cxn modelId="{649D4333-CEB3-A846-9086-ABA608D5361C}" type="presParOf" srcId="{52F1A2B4-5B26-7844-A417-F9A302DD4377}" destId="{51242648-056D-864F-A823-CF2B10E36DC5}" srcOrd="1" destOrd="0" presId="urn:microsoft.com/office/officeart/2005/8/layout/orgChart1"/>
    <dgm:cxn modelId="{73E201CF-73FC-184B-BE4E-7B1AAA6D7C35}" type="presParOf" srcId="{2208A308-1D10-494E-B09E-F544AF8068C3}" destId="{101F8E47-0BE7-944C-B421-13AA797AD0FE}" srcOrd="1" destOrd="0" presId="urn:microsoft.com/office/officeart/2005/8/layout/orgChart1"/>
    <dgm:cxn modelId="{946A82B1-2B52-C54F-8D76-E12572839453}" type="presParOf" srcId="{2208A308-1D10-494E-B09E-F544AF8068C3}" destId="{63EE6A4D-0BB5-9F46-BC36-0F3CE16A1208}" srcOrd="2" destOrd="0" presId="urn:microsoft.com/office/officeart/2005/8/layout/orgChart1"/>
    <dgm:cxn modelId="{27BAC6C8-47AF-6246-9181-A11D75760433}" type="presParOf" srcId="{EB7C6A82-1BAB-C84F-ABFF-4175D1E01329}" destId="{6440B106-7C72-9547-AE5A-A590A6A7292B}" srcOrd="2" destOrd="0" presId="urn:microsoft.com/office/officeart/2005/8/layout/orgChart1"/>
    <dgm:cxn modelId="{9956C8EF-7C81-BD47-8028-651FA783BE2C}" type="presParOf" srcId="{EB7C6A82-1BAB-C84F-ABFF-4175D1E01329}" destId="{BAC73BF8-8458-2342-9ECA-03ADDC1723E5}" srcOrd="3" destOrd="0" presId="urn:microsoft.com/office/officeart/2005/8/layout/orgChart1"/>
    <dgm:cxn modelId="{987B629B-D1CE-5F43-9D95-C33C933684F9}" type="presParOf" srcId="{BAC73BF8-8458-2342-9ECA-03ADDC1723E5}" destId="{0C073428-45A6-A444-B614-5DE374C411EB}" srcOrd="0" destOrd="0" presId="urn:microsoft.com/office/officeart/2005/8/layout/orgChart1"/>
    <dgm:cxn modelId="{2B2EADDA-7CB3-A24B-8955-AF6B82BD318A}" type="presParOf" srcId="{0C073428-45A6-A444-B614-5DE374C411EB}" destId="{96DE10DD-2A27-1E4E-A6B9-8640BCC5A191}" srcOrd="0" destOrd="0" presId="urn:microsoft.com/office/officeart/2005/8/layout/orgChart1"/>
    <dgm:cxn modelId="{3D7174BF-3CBA-5E45-829D-6929143EB00C}" type="presParOf" srcId="{0C073428-45A6-A444-B614-5DE374C411EB}" destId="{8F158EFB-F898-3C42-9661-FD99398859DA}" srcOrd="1" destOrd="0" presId="urn:microsoft.com/office/officeart/2005/8/layout/orgChart1"/>
    <dgm:cxn modelId="{5558805E-FB57-F842-95DE-B02956758569}" type="presParOf" srcId="{BAC73BF8-8458-2342-9ECA-03ADDC1723E5}" destId="{115DEFFC-01B6-BC42-A789-F0A80147F2CC}" srcOrd="1" destOrd="0" presId="urn:microsoft.com/office/officeart/2005/8/layout/orgChart1"/>
    <dgm:cxn modelId="{C29F3A66-04C1-EA47-BAF3-96FEE5BACA3A}" type="presParOf" srcId="{BAC73BF8-8458-2342-9ECA-03ADDC1723E5}" destId="{B17F80B3-A6DC-D645-A595-41D80D4CE969}" srcOrd="2" destOrd="0" presId="urn:microsoft.com/office/officeart/2005/8/layout/orgChart1"/>
    <dgm:cxn modelId="{ECE3D4C1-F8F5-3D42-8BE8-69F5BBF9298D}" type="presParOf" srcId="{EB7C6A82-1BAB-C84F-ABFF-4175D1E01329}" destId="{65969C0C-C4EF-8044-B112-A2052B5FA261}" srcOrd="4" destOrd="0" presId="urn:microsoft.com/office/officeart/2005/8/layout/orgChart1"/>
    <dgm:cxn modelId="{57C102BD-CB24-A448-9BBF-FFD41DD346B6}" type="presParOf" srcId="{EB7C6A82-1BAB-C84F-ABFF-4175D1E01329}" destId="{15CB5C64-C278-794E-82CF-052985D0BE92}" srcOrd="5" destOrd="0" presId="urn:microsoft.com/office/officeart/2005/8/layout/orgChart1"/>
    <dgm:cxn modelId="{827604E2-DCD0-5140-A307-0310105FD5F0}" type="presParOf" srcId="{15CB5C64-C278-794E-82CF-052985D0BE92}" destId="{BA365489-556A-C940-A00F-72AECC305955}" srcOrd="0" destOrd="0" presId="urn:microsoft.com/office/officeart/2005/8/layout/orgChart1"/>
    <dgm:cxn modelId="{11B84477-6188-014F-B0DF-80F239DAFE2B}" type="presParOf" srcId="{BA365489-556A-C940-A00F-72AECC305955}" destId="{210923D2-AC03-0946-B698-462DDD0B6542}" srcOrd="0" destOrd="0" presId="urn:microsoft.com/office/officeart/2005/8/layout/orgChart1"/>
    <dgm:cxn modelId="{9A0B0FAB-E1F2-3646-9471-C0F5135D9DA3}" type="presParOf" srcId="{BA365489-556A-C940-A00F-72AECC305955}" destId="{2CA7FC21-BB86-E144-A530-0AA3F7C11ADE}" srcOrd="1" destOrd="0" presId="urn:microsoft.com/office/officeart/2005/8/layout/orgChart1"/>
    <dgm:cxn modelId="{A484FF8F-149D-664D-9B7C-0492C425B187}" type="presParOf" srcId="{15CB5C64-C278-794E-82CF-052985D0BE92}" destId="{AB10E984-B840-EA4C-B0FD-663FD1FBE1EE}" srcOrd="1" destOrd="0" presId="urn:microsoft.com/office/officeart/2005/8/layout/orgChart1"/>
    <dgm:cxn modelId="{9C4935AA-97D0-4F4A-84F1-40032919E171}" type="presParOf" srcId="{15CB5C64-C278-794E-82CF-052985D0BE92}" destId="{A0B7D572-0CBF-904A-8189-72905D552A09}" srcOrd="2" destOrd="0" presId="urn:microsoft.com/office/officeart/2005/8/layout/orgChart1"/>
    <dgm:cxn modelId="{61969949-5095-4945-8AF1-5A497E29A177}" type="presParOf" srcId="{38784AEE-09B7-0C47-8227-D02D0F1EDC40}" destId="{0D4ABEBA-7F67-174B-9D14-25EB0F873638}" srcOrd="2" destOrd="0" presId="urn:microsoft.com/office/officeart/2005/8/layout/orgChart1"/>
    <dgm:cxn modelId="{7FBA7B35-41ED-0648-94C7-0183FE804CE4}" type="presParOf" srcId="{C176592F-E087-B04D-9588-EF6FC2F92869}" destId="{FD0BC2B8-08A5-504D-8B97-A8DFE6F2353D}" srcOrd="10" destOrd="0" presId="urn:microsoft.com/office/officeart/2005/8/layout/orgChart1"/>
    <dgm:cxn modelId="{0D5DB65D-ACBF-7542-B2BE-9286EE177800}" type="presParOf" srcId="{C176592F-E087-B04D-9588-EF6FC2F92869}" destId="{4D65A84D-8A4B-FF46-8FC4-DF9823B8C901}" srcOrd="11" destOrd="0" presId="urn:microsoft.com/office/officeart/2005/8/layout/orgChart1"/>
    <dgm:cxn modelId="{900CF683-897A-714E-AA5A-9B95896160F4}" type="presParOf" srcId="{4D65A84D-8A4B-FF46-8FC4-DF9823B8C901}" destId="{03C01BD0-EEC3-1044-9FF9-FA46EBEE4A5A}" srcOrd="0" destOrd="0" presId="urn:microsoft.com/office/officeart/2005/8/layout/orgChart1"/>
    <dgm:cxn modelId="{7DA9685C-5ADC-DA41-A4BD-B33059D05123}" type="presParOf" srcId="{03C01BD0-EEC3-1044-9FF9-FA46EBEE4A5A}" destId="{0FE69002-AB56-3740-A6BE-C29542137A47}" srcOrd="0" destOrd="0" presId="urn:microsoft.com/office/officeart/2005/8/layout/orgChart1"/>
    <dgm:cxn modelId="{243AA20F-895C-DC47-B838-D39B9148FA59}" type="presParOf" srcId="{03C01BD0-EEC3-1044-9FF9-FA46EBEE4A5A}" destId="{78596C7B-EEAE-2041-808D-BB85B551442B}" srcOrd="1" destOrd="0" presId="urn:microsoft.com/office/officeart/2005/8/layout/orgChart1"/>
    <dgm:cxn modelId="{80D31284-7BD0-C14D-9CB5-AA3AEE520D8F}" type="presParOf" srcId="{4D65A84D-8A4B-FF46-8FC4-DF9823B8C901}" destId="{5D17771E-4B1E-524B-BB1A-B729F8A623F9}" srcOrd="1" destOrd="0" presId="urn:microsoft.com/office/officeart/2005/8/layout/orgChart1"/>
    <dgm:cxn modelId="{26940231-8FC4-ED40-93D8-705377CD6677}" type="presParOf" srcId="{5D17771E-4B1E-524B-BB1A-B729F8A623F9}" destId="{18EACF5C-66CA-3E4D-8C5C-FF5941FDB285}" srcOrd="0" destOrd="0" presId="urn:microsoft.com/office/officeart/2005/8/layout/orgChart1"/>
    <dgm:cxn modelId="{093091E6-B1FB-9E4D-A3C3-4BBBCCDB689E}" type="presParOf" srcId="{5D17771E-4B1E-524B-BB1A-B729F8A623F9}" destId="{6C7DB993-CCDC-324F-8775-E1F06DD4FFD7}" srcOrd="1" destOrd="0" presId="urn:microsoft.com/office/officeart/2005/8/layout/orgChart1"/>
    <dgm:cxn modelId="{4110A997-1BFC-E24A-BDB7-73D4CF5EAC41}" type="presParOf" srcId="{6C7DB993-CCDC-324F-8775-E1F06DD4FFD7}" destId="{D4DA819A-9F1A-9344-ADAA-3A8DDECA6851}" srcOrd="0" destOrd="0" presId="urn:microsoft.com/office/officeart/2005/8/layout/orgChart1"/>
    <dgm:cxn modelId="{8D6A85B4-5DD0-044A-B58C-336095B7A612}" type="presParOf" srcId="{D4DA819A-9F1A-9344-ADAA-3A8DDECA6851}" destId="{3F382FC2-12CB-D943-89ED-75CADBE6B2B9}" srcOrd="0" destOrd="0" presId="urn:microsoft.com/office/officeart/2005/8/layout/orgChart1"/>
    <dgm:cxn modelId="{158ED75E-68E1-BE4C-9125-6CB5788CFE90}" type="presParOf" srcId="{D4DA819A-9F1A-9344-ADAA-3A8DDECA6851}" destId="{A9018DA5-07A6-1047-8906-D5CEBD268137}" srcOrd="1" destOrd="0" presId="urn:microsoft.com/office/officeart/2005/8/layout/orgChart1"/>
    <dgm:cxn modelId="{0F08B9CC-FA41-3D4A-8581-DD42F56BBE98}" type="presParOf" srcId="{6C7DB993-CCDC-324F-8775-E1F06DD4FFD7}" destId="{B5813A8B-06F6-9048-B681-BC00AA738FE4}" srcOrd="1" destOrd="0" presId="urn:microsoft.com/office/officeart/2005/8/layout/orgChart1"/>
    <dgm:cxn modelId="{C8615F2C-952E-CC48-A21C-706B2915A85E}" type="presParOf" srcId="{6C7DB993-CCDC-324F-8775-E1F06DD4FFD7}" destId="{95C46E87-2E48-C342-A249-297A911EA1BF}" srcOrd="2" destOrd="0" presId="urn:microsoft.com/office/officeart/2005/8/layout/orgChart1"/>
    <dgm:cxn modelId="{CCCB7A33-2791-1245-B1A6-CCDF848568ED}" type="presParOf" srcId="{5D17771E-4B1E-524B-BB1A-B729F8A623F9}" destId="{CE80B93D-D000-8B4B-8100-E0B67DB0E877}" srcOrd="2" destOrd="0" presId="urn:microsoft.com/office/officeart/2005/8/layout/orgChart1"/>
    <dgm:cxn modelId="{98BD08E1-1D9C-C74C-A7D9-E0208A8B72E1}" type="presParOf" srcId="{5D17771E-4B1E-524B-BB1A-B729F8A623F9}" destId="{135F96AC-C0EB-DF47-A8C8-A7B4CD21E5E7}" srcOrd="3" destOrd="0" presId="urn:microsoft.com/office/officeart/2005/8/layout/orgChart1"/>
    <dgm:cxn modelId="{B3AB21B1-1E3D-DE4C-BA6F-F716446BEC85}" type="presParOf" srcId="{135F96AC-C0EB-DF47-A8C8-A7B4CD21E5E7}" destId="{211E14D2-36F3-F344-B001-DAEE9207C99A}" srcOrd="0" destOrd="0" presId="urn:microsoft.com/office/officeart/2005/8/layout/orgChart1"/>
    <dgm:cxn modelId="{A0BE0AFC-F374-364F-BFD6-A6C74C1189C2}" type="presParOf" srcId="{211E14D2-36F3-F344-B001-DAEE9207C99A}" destId="{EA99EEAC-15F9-BB4A-A17F-8DF66EAF1CDC}" srcOrd="0" destOrd="0" presId="urn:microsoft.com/office/officeart/2005/8/layout/orgChart1"/>
    <dgm:cxn modelId="{CB3E509E-C9C4-D24C-9F7C-AF0169034D6B}" type="presParOf" srcId="{211E14D2-36F3-F344-B001-DAEE9207C99A}" destId="{AF27EFD7-AEE3-5142-9BFD-36D0D1B36002}" srcOrd="1" destOrd="0" presId="urn:microsoft.com/office/officeart/2005/8/layout/orgChart1"/>
    <dgm:cxn modelId="{178C7434-71FE-D34F-A860-FC62BCD1FB67}" type="presParOf" srcId="{135F96AC-C0EB-DF47-A8C8-A7B4CD21E5E7}" destId="{9C8E7226-45B7-4C4E-9BE3-277B0CB35A46}" srcOrd="1" destOrd="0" presId="urn:microsoft.com/office/officeart/2005/8/layout/orgChart1"/>
    <dgm:cxn modelId="{6AA55769-54B0-F148-968C-2D2D0B611C24}" type="presParOf" srcId="{135F96AC-C0EB-DF47-A8C8-A7B4CD21E5E7}" destId="{B654A497-F541-7549-BE0E-498FA6C82A50}" srcOrd="2" destOrd="0" presId="urn:microsoft.com/office/officeart/2005/8/layout/orgChart1"/>
    <dgm:cxn modelId="{260DAC41-2D85-1448-A506-84C4233CF182}" type="presParOf" srcId="{5D17771E-4B1E-524B-BB1A-B729F8A623F9}" destId="{EE101F31-B493-FC4F-BA98-4DA93A046699}" srcOrd="4" destOrd="0" presId="urn:microsoft.com/office/officeart/2005/8/layout/orgChart1"/>
    <dgm:cxn modelId="{F8FA1D4C-825C-854C-BFEF-3D16764DC508}" type="presParOf" srcId="{5D17771E-4B1E-524B-BB1A-B729F8A623F9}" destId="{743FC97E-EDF8-8440-9167-2FF59851F03F}" srcOrd="5" destOrd="0" presId="urn:microsoft.com/office/officeart/2005/8/layout/orgChart1"/>
    <dgm:cxn modelId="{B23F4147-FC2B-D540-9E1B-3FD766C4A638}" type="presParOf" srcId="{743FC97E-EDF8-8440-9167-2FF59851F03F}" destId="{72E8E29A-9051-694D-A417-CE6EE9089A15}" srcOrd="0" destOrd="0" presId="urn:microsoft.com/office/officeart/2005/8/layout/orgChart1"/>
    <dgm:cxn modelId="{0E97ADC4-65AF-C741-8902-69BA63BED1C9}" type="presParOf" srcId="{72E8E29A-9051-694D-A417-CE6EE9089A15}" destId="{72D53164-9DF1-584A-A8A9-A81741EC7864}" srcOrd="0" destOrd="0" presId="urn:microsoft.com/office/officeart/2005/8/layout/orgChart1"/>
    <dgm:cxn modelId="{09EED156-6532-3147-84F8-3F2B3B88FBBD}" type="presParOf" srcId="{72E8E29A-9051-694D-A417-CE6EE9089A15}" destId="{5108E4B9-C933-084B-87BD-17BA21FAC394}" srcOrd="1" destOrd="0" presId="urn:microsoft.com/office/officeart/2005/8/layout/orgChart1"/>
    <dgm:cxn modelId="{A898DC07-240B-4947-8D84-A56678E38A42}" type="presParOf" srcId="{743FC97E-EDF8-8440-9167-2FF59851F03F}" destId="{649410E7-1B76-0045-8BBB-B901D379D30D}" srcOrd="1" destOrd="0" presId="urn:microsoft.com/office/officeart/2005/8/layout/orgChart1"/>
    <dgm:cxn modelId="{64839C57-CB5E-C34C-8A65-7C1E8ABA3245}" type="presParOf" srcId="{743FC97E-EDF8-8440-9167-2FF59851F03F}" destId="{71FE410D-3141-9A4F-B3B0-E72482DDAA9E}" srcOrd="2" destOrd="0" presId="urn:microsoft.com/office/officeart/2005/8/layout/orgChart1"/>
    <dgm:cxn modelId="{790A6CA8-23A0-9142-93A5-07C368DBE63C}" type="presParOf" srcId="{4D65A84D-8A4B-FF46-8FC4-DF9823B8C901}" destId="{563039BE-2DC6-AF4D-A183-8E60493152DD}" srcOrd="2" destOrd="0" presId="urn:microsoft.com/office/officeart/2005/8/layout/orgChart1"/>
    <dgm:cxn modelId="{31DCD078-028C-9C44-A7E2-201D90395865}" type="presParOf" srcId="{01768E30-7C00-9D46-B106-9803EF77DB72}" destId="{42EF44E0-7DBD-CF4E-9797-0AB81CD9C8EC}"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3357FD-18B0-1644-966C-BCE3778B58DD}" type="doc">
      <dgm:prSet loTypeId="urn:microsoft.com/office/officeart/2005/8/layout/orgChart1" loCatId="" qsTypeId="urn:microsoft.com/office/officeart/2005/8/quickstyle/simple2" qsCatId="simple" csTypeId="urn:microsoft.com/office/officeart/2005/8/colors/accent1_2" csCatId="accent1" phldr="1"/>
      <dgm:spPr/>
      <dgm:t>
        <a:bodyPr/>
        <a:lstStyle/>
        <a:p>
          <a:endParaRPr lang="en-US"/>
        </a:p>
      </dgm:t>
    </dgm:pt>
    <dgm:pt modelId="{25517EF2-3665-EB4B-9D7F-2C037C685C4E}">
      <dgm:prSet phldrT="[Text]"/>
      <dgm:spPr>
        <a:solidFill>
          <a:schemeClr val="accent1">
            <a:lumMod val="5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Cart Checkout Rate</a:t>
          </a:r>
          <a:endParaRPr lang="en-US" b="1" dirty="0"/>
        </a:p>
      </dgm:t>
    </dgm:pt>
    <dgm:pt modelId="{D1D1E974-9AD9-1A42-A6F6-F902A49BDCFF}" type="parTrans" cxnId="{B00A64FC-E62B-0B48-B010-0717DFBC827A}">
      <dgm:prSet/>
      <dgm:spPr/>
      <dgm:t>
        <a:bodyPr/>
        <a:lstStyle/>
        <a:p>
          <a:endParaRPr lang="en-US"/>
        </a:p>
      </dgm:t>
    </dgm:pt>
    <dgm:pt modelId="{56D907EF-C84C-3B48-8C95-0AE5C1659474}" type="sibTrans" cxnId="{B00A64FC-E62B-0B48-B010-0717DFBC827A}">
      <dgm:prSet/>
      <dgm:spPr/>
      <dgm:t>
        <a:bodyPr/>
        <a:lstStyle/>
        <a:p>
          <a:endParaRPr lang="en-US"/>
        </a:p>
      </dgm:t>
    </dgm:pt>
    <dgm:pt modelId="{4B26847B-222F-E04F-B93F-7958496DA65C}">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implifying decision making</a:t>
          </a:r>
          <a:endParaRPr lang="en-US" b="1" dirty="0">
            <a:effectLst>
              <a:outerShdw blurRad="50800" dist="38100" dir="2700000" algn="tl" rotWithShape="0">
                <a:prstClr val="black">
                  <a:alpha val="40000"/>
                </a:prstClr>
              </a:outerShdw>
            </a:effectLst>
          </a:endParaRPr>
        </a:p>
      </dgm:t>
    </dgm:pt>
    <dgm:pt modelId="{07AFA923-B56F-0042-B585-5B06F0FA0896}" type="parTrans" cxnId="{8F920AE9-1886-AC40-A98C-863F5AB3ABB2}">
      <dgm:prSet/>
      <dgm:spPr/>
      <dgm:t>
        <a:bodyPr/>
        <a:lstStyle/>
        <a:p>
          <a:endParaRPr lang="en-US"/>
        </a:p>
      </dgm:t>
    </dgm:pt>
    <dgm:pt modelId="{EF2C2E1F-9C59-4E44-9BFF-B9B74523D935}" type="sibTrans" cxnId="{8F920AE9-1886-AC40-A98C-863F5AB3ABB2}">
      <dgm:prSet/>
      <dgm:spPr/>
      <dgm:t>
        <a:bodyPr/>
        <a:lstStyle/>
        <a:p>
          <a:endParaRPr lang="en-US"/>
        </a:p>
      </dgm:t>
    </dgm:pt>
    <dgm:pt modelId="{50B35D2E-59F3-7346-A146-7B84569A518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ddressing questions / concerns</a:t>
          </a:r>
          <a:endParaRPr lang="en-US" b="1" dirty="0">
            <a:effectLst>
              <a:outerShdw blurRad="50800" dist="38100" dir="2700000" algn="tl" rotWithShape="0">
                <a:prstClr val="black">
                  <a:alpha val="40000"/>
                </a:prstClr>
              </a:outerShdw>
            </a:effectLst>
          </a:endParaRPr>
        </a:p>
      </dgm:t>
    </dgm:pt>
    <dgm:pt modelId="{33424807-C11D-7C4A-85E7-BB0E19ACD352}" type="parTrans" cxnId="{A3DEF5DD-4DA5-064F-9A64-A11BE283B5FA}">
      <dgm:prSet/>
      <dgm:spPr/>
      <dgm:t>
        <a:bodyPr/>
        <a:lstStyle/>
        <a:p>
          <a:endParaRPr lang="en-US"/>
        </a:p>
      </dgm:t>
    </dgm:pt>
    <dgm:pt modelId="{FD010288-FF0D-2D49-A5AC-435BA24A2550}" type="sibTrans" cxnId="{A3DEF5DD-4DA5-064F-9A64-A11BE283B5FA}">
      <dgm:prSet/>
      <dgm:spPr/>
      <dgm:t>
        <a:bodyPr/>
        <a:lstStyle/>
        <a:p>
          <a:endParaRPr lang="en-US"/>
        </a:p>
      </dgm:t>
    </dgm:pt>
    <dgm:pt modelId="{C6588B98-FB28-334E-BDCA-56820ACB056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e pressure of the decision</a:t>
          </a:r>
          <a:endParaRPr lang="en-US" b="1" dirty="0">
            <a:effectLst>
              <a:outerShdw blurRad="50800" dist="38100" dir="2700000" algn="tl" rotWithShape="0">
                <a:prstClr val="black">
                  <a:alpha val="40000"/>
                </a:prstClr>
              </a:outerShdw>
            </a:effectLst>
          </a:endParaRPr>
        </a:p>
      </dgm:t>
    </dgm:pt>
    <dgm:pt modelId="{3B5A4386-A293-8747-A207-2A8D5CABEA7A}" type="parTrans" cxnId="{E04C6730-3FFD-5D4B-985C-9C0A77B05039}">
      <dgm:prSet/>
      <dgm:spPr/>
      <dgm:t>
        <a:bodyPr/>
        <a:lstStyle/>
        <a:p>
          <a:endParaRPr lang="en-US"/>
        </a:p>
      </dgm:t>
    </dgm:pt>
    <dgm:pt modelId="{1DAD777C-69EB-524E-B685-59D1A2C22C8E}" type="sibTrans" cxnId="{E04C6730-3FFD-5D4B-985C-9C0A77B05039}">
      <dgm:prSet/>
      <dgm:spPr/>
      <dgm:t>
        <a:bodyPr/>
        <a:lstStyle/>
        <a:p>
          <a:endParaRPr lang="en-US"/>
        </a:p>
      </dgm:t>
    </dgm:pt>
    <dgm:pt modelId="{C70D9AAD-288E-0B4A-A4D2-9169EEB4C5E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eamless session continuation across visits</a:t>
          </a:r>
          <a:endParaRPr lang="en-US" b="1" dirty="0">
            <a:effectLst>
              <a:outerShdw blurRad="50800" dist="38100" dir="2700000" algn="tl" rotWithShape="0">
                <a:prstClr val="black">
                  <a:alpha val="40000"/>
                </a:prstClr>
              </a:outerShdw>
            </a:effectLst>
          </a:endParaRPr>
        </a:p>
      </dgm:t>
    </dgm:pt>
    <dgm:pt modelId="{F5F28F68-69DA-C347-938A-3CCF605B29AB}" type="parTrans" cxnId="{219BA358-66B7-0F44-B8A3-21E80178ACCF}">
      <dgm:prSet/>
      <dgm:spPr/>
      <dgm:t>
        <a:bodyPr/>
        <a:lstStyle/>
        <a:p>
          <a:endParaRPr lang="en-US"/>
        </a:p>
      </dgm:t>
    </dgm:pt>
    <dgm:pt modelId="{6A1A54A5-98A7-FF49-9699-4CB4608AB21F}" type="sibTrans" cxnId="{219BA358-66B7-0F44-B8A3-21E80178ACCF}">
      <dgm:prSet/>
      <dgm:spPr/>
      <dgm:t>
        <a:bodyPr/>
        <a:lstStyle/>
        <a:p>
          <a:endParaRPr lang="en-US"/>
        </a:p>
      </dgm:t>
    </dgm:pt>
    <dgm:pt modelId="{BA6FF226-3807-2346-A740-CE3E60981FB3}">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Abandon basket e-mails</a:t>
          </a:r>
          <a:endParaRPr lang="en-US" b="1" dirty="0">
            <a:effectLst>
              <a:outerShdw blurRad="50800" dist="38100" dir="2700000" algn="tl" rotWithShape="0">
                <a:prstClr val="black">
                  <a:alpha val="40000"/>
                </a:prstClr>
              </a:outerShdw>
            </a:effectLst>
          </a:endParaRPr>
        </a:p>
      </dgm:t>
    </dgm:pt>
    <dgm:pt modelId="{705E07FB-4646-5640-AD39-5663CA022EE0}" type="parTrans" cxnId="{4F00E388-C72F-E24D-B41C-C77F61A7A0A7}">
      <dgm:prSet/>
      <dgm:spPr/>
      <dgm:t>
        <a:bodyPr/>
        <a:lstStyle/>
        <a:p>
          <a:endParaRPr lang="en-US"/>
        </a:p>
      </dgm:t>
    </dgm:pt>
    <dgm:pt modelId="{4F2ECF20-4C49-5249-A0EF-5FAE6D3E84AE}" type="sibTrans" cxnId="{4F00E388-C72F-E24D-B41C-C77F61A7A0A7}">
      <dgm:prSet/>
      <dgm:spPr/>
      <dgm:t>
        <a:bodyPr/>
        <a:lstStyle/>
        <a:p>
          <a:endParaRPr lang="en-US"/>
        </a:p>
      </dgm:t>
    </dgm:pt>
    <dgm:pt modelId="{8C2CA5B6-6500-9D43-9984-AE6727A18F74}">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last item viewed / redirect to conversion step</a:t>
          </a:r>
          <a:endParaRPr lang="en-US" b="1" dirty="0">
            <a:effectLst>
              <a:outerShdw blurRad="50800" dist="38100" dir="2700000" algn="tl" rotWithShape="0">
                <a:prstClr val="black">
                  <a:alpha val="40000"/>
                </a:prstClr>
              </a:outerShdw>
            </a:effectLst>
          </a:endParaRPr>
        </a:p>
      </dgm:t>
    </dgm:pt>
    <dgm:pt modelId="{537E3EB2-8400-9F46-8E14-018A525A6F13}" type="parTrans" cxnId="{2BF524E2-1BD9-DA47-8878-2D47CE1636A8}">
      <dgm:prSet/>
      <dgm:spPr/>
      <dgm:t>
        <a:bodyPr/>
        <a:lstStyle/>
        <a:p>
          <a:endParaRPr lang="en-US"/>
        </a:p>
      </dgm:t>
    </dgm:pt>
    <dgm:pt modelId="{B03FC588-7422-B345-AC2A-404830D942A9}" type="sibTrans" cxnId="{2BF524E2-1BD9-DA47-8878-2D47CE1636A8}">
      <dgm:prSet/>
      <dgm:spPr/>
      <dgm:t>
        <a:bodyPr/>
        <a:lstStyle/>
        <a:p>
          <a:endParaRPr lang="en-US"/>
        </a:p>
      </dgm:t>
    </dgm:pt>
    <dgm:pt modelId="{5B4F3E0D-971E-3647-86E4-6868F203DC2B}">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Funnel path optimization</a:t>
          </a:r>
          <a:endParaRPr lang="en-US" b="1" dirty="0">
            <a:effectLst>
              <a:outerShdw blurRad="50800" dist="38100" dir="2700000" algn="tl" rotWithShape="0">
                <a:prstClr val="black">
                  <a:alpha val="40000"/>
                </a:prstClr>
              </a:outerShdw>
            </a:effectLst>
          </a:endParaRPr>
        </a:p>
      </dgm:t>
    </dgm:pt>
    <dgm:pt modelId="{F35DDD95-A0E8-D04C-90F4-7D2AE6A0AF8D}" type="parTrans" cxnId="{507A7539-079D-884C-A750-47DC0E0F2B5F}">
      <dgm:prSet/>
      <dgm:spPr/>
      <dgm:t>
        <a:bodyPr/>
        <a:lstStyle/>
        <a:p>
          <a:endParaRPr lang="en-US"/>
        </a:p>
      </dgm:t>
    </dgm:pt>
    <dgm:pt modelId="{F173B29F-EA33-FF4F-8F61-60CD6EE8F154}" type="sibTrans" cxnId="{507A7539-079D-884C-A750-47DC0E0F2B5F}">
      <dgm:prSet/>
      <dgm:spPr/>
      <dgm:t>
        <a:bodyPr/>
        <a:lstStyle/>
        <a:p>
          <a:endParaRPr lang="en-US"/>
        </a:p>
      </dgm:t>
    </dgm:pt>
    <dgm:pt modelId="{1A5ABF02-3DC0-3F46-89A6-D4A83DB904D1}">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ailor user experience by selected funnel path (search v. browse v. deals)</a:t>
          </a:r>
          <a:endParaRPr lang="en-US" b="1" dirty="0">
            <a:effectLst>
              <a:outerShdw blurRad="50800" dist="38100" dir="2700000" algn="tl" rotWithShape="0">
                <a:prstClr val="black">
                  <a:alpha val="40000"/>
                </a:prstClr>
              </a:outerShdw>
            </a:effectLst>
          </a:endParaRPr>
        </a:p>
      </dgm:t>
    </dgm:pt>
    <dgm:pt modelId="{7FF81494-F22E-3B4A-AE0B-9C51C4A0F12C}" type="parTrans" cxnId="{7D8294E6-07BD-5D4C-9ACF-8116659315FA}">
      <dgm:prSet/>
      <dgm:spPr/>
      <dgm:t>
        <a:bodyPr/>
        <a:lstStyle/>
        <a:p>
          <a:endParaRPr lang="en-US"/>
        </a:p>
      </dgm:t>
    </dgm:pt>
    <dgm:pt modelId="{CD3754BE-0B21-2447-82D0-254D5E91DDB9}" type="sibTrans" cxnId="{7D8294E6-07BD-5D4C-9ACF-8116659315FA}">
      <dgm:prSet/>
      <dgm:spPr/>
      <dgm:t>
        <a:bodyPr/>
        <a:lstStyle/>
        <a:p>
          <a:endParaRPr lang="en-US"/>
        </a:p>
      </dgm:t>
    </dgm:pt>
    <dgm:pt modelId="{11B5AD18-48FD-6A4B-A82C-B8D0882BDFD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e number of steps in finding and comparing products</a:t>
          </a:r>
          <a:endParaRPr lang="en-US" b="1" dirty="0">
            <a:effectLst>
              <a:outerShdw blurRad="50800" dist="38100" dir="2700000" algn="tl" rotWithShape="0">
                <a:prstClr val="black">
                  <a:alpha val="40000"/>
                </a:prstClr>
              </a:outerShdw>
            </a:effectLst>
          </a:endParaRPr>
        </a:p>
      </dgm:t>
    </dgm:pt>
    <dgm:pt modelId="{76C0524B-EDDB-FA4A-A6A1-2FDCA1EEFA25}" type="parTrans" cxnId="{567C4151-E086-6440-93D2-C44BC75B3D12}">
      <dgm:prSet/>
      <dgm:spPr/>
      <dgm:t>
        <a:bodyPr/>
        <a:lstStyle/>
        <a:p>
          <a:endParaRPr lang="en-US"/>
        </a:p>
      </dgm:t>
    </dgm:pt>
    <dgm:pt modelId="{F5E5DF55-1CB3-094F-AB65-827743BF210C}" type="sibTrans" cxnId="{567C4151-E086-6440-93D2-C44BC75B3D12}">
      <dgm:prSet/>
      <dgm:spPr/>
      <dgm:t>
        <a:bodyPr/>
        <a:lstStyle/>
        <a:p>
          <a:endParaRPr lang="en-US"/>
        </a:p>
      </dgm:t>
    </dgm:pt>
    <dgm:pt modelId="{49CB4C51-4B03-F94A-A9CC-2536C8F9270F}">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ucing steps in checkout</a:t>
          </a:r>
          <a:endParaRPr lang="en-US" b="1" dirty="0">
            <a:effectLst>
              <a:outerShdw blurRad="50800" dist="38100" dir="2700000" algn="tl" rotWithShape="0">
                <a:prstClr val="black">
                  <a:alpha val="40000"/>
                </a:prstClr>
              </a:outerShdw>
            </a:effectLst>
          </a:endParaRPr>
        </a:p>
      </dgm:t>
    </dgm:pt>
    <dgm:pt modelId="{4BB222BF-BE28-4C47-9A72-39286C322445}" type="parTrans" cxnId="{9A43DC00-7CFB-E944-A61A-772AC3B1A419}">
      <dgm:prSet/>
      <dgm:spPr/>
      <dgm:t>
        <a:bodyPr/>
        <a:lstStyle/>
        <a:p>
          <a:endParaRPr lang="en-US"/>
        </a:p>
      </dgm:t>
    </dgm:pt>
    <dgm:pt modelId="{B9C2BE04-1365-0646-9A8C-152868F5C0E7}" type="sibTrans" cxnId="{9A43DC00-7CFB-E944-A61A-772AC3B1A419}">
      <dgm:prSet/>
      <dgm:spPr/>
      <dgm:t>
        <a:bodyPr/>
        <a:lstStyle/>
        <a:p>
          <a:endParaRPr lang="en-US"/>
        </a:p>
      </dgm:t>
    </dgm:pt>
    <dgm:pt modelId="{14A9B10A-492B-F046-AA45-A18CECB57509}">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kipping upsells</a:t>
          </a:r>
          <a:endParaRPr lang="en-US" b="1" dirty="0">
            <a:effectLst>
              <a:outerShdw blurRad="50800" dist="38100" dir="2700000" algn="tl" rotWithShape="0">
                <a:prstClr val="black">
                  <a:alpha val="40000"/>
                </a:prstClr>
              </a:outerShdw>
            </a:effectLst>
          </a:endParaRPr>
        </a:p>
      </dgm:t>
    </dgm:pt>
    <dgm:pt modelId="{964A5E62-97E7-C048-9268-0DD949F4134F}" type="parTrans" cxnId="{A36B01A2-EF46-2B4A-B4B9-5FCB9A2315D0}">
      <dgm:prSet/>
      <dgm:spPr/>
      <dgm:t>
        <a:bodyPr/>
        <a:lstStyle/>
        <a:p>
          <a:endParaRPr lang="en-US"/>
        </a:p>
      </dgm:t>
    </dgm:pt>
    <dgm:pt modelId="{7A26E861-AF89-6F4A-88AE-4CE5F18F3043}" type="sibTrans" cxnId="{A36B01A2-EF46-2B4A-B4B9-5FCB9A2315D0}">
      <dgm:prSet/>
      <dgm:spPr/>
      <dgm:t>
        <a:bodyPr/>
        <a:lstStyle/>
        <a:p>
          <a:endParaRPr lang="en-US"/>
        </a:p>
      </dgm:t>
    </dgm:pt>
    <dgm:pt modelId="{D388754C-8CDF-944F-81D9-734A1D624DE5}">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Reduce questions / steps</a:t>
          </a:r>
          <a:endParaRPr lang="en-US" b="1" dirty="0">
            <a:effectLst>
              <a:outerShdw blurRad="50800" dist="38100" dir="2700000" algn="tl" rotWithShape="0">
                <a:prstClr val="black">
                  <a:alpha val="40000"/>
                </a:prstClr>
              </a:outerShdw>
            </a:effectLst>
          </a:endParaRPr>
        </a:p>
      </dgm:t>
    </dgm:pt>
    <dgm:pt modelId="{7D0C8FC0-2822-5146-86DC-E862D57D28F7}" type="parTrans" cxnId="{6395D2D6-9093-984B-BF32-B7A82BED7ADA}">
      <dgm:prSet/>
      <dgm:spPr/>
      <dgm:t>
        <a:bodyPr/>
        <a:lstStyle/>
        <a:p>
          <a:endParaRPr lang="en-US"/>
        </a:p>
      </dgm:t>
    </dgm:pt>
    <dgm:pt modelId="{06E79FDE-5F09-BB4D-B6D0-7AB67CB26B63}" type="sibTrans" cxnId="{6395D2D6-9093-984B-BF32-B7A82BED7ADA}">
      <dgm:prSet/>
      <dgm:spPr/>
      <dgm:t>
        <a:bodyPr/>
        <a:lstStyle/>
        <a:p>
          <a:endParaRPr lang="en-US"/>
        </a:p>
      </dgm:t>
    </dgm:pt>
    <dgm:pt modelId="{67FD2AD4-7083-B34B-8AB9-E13081EF86F9}">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ersonalization</a:t>
          </a:r>
          <a:endParaRPr lang="en-US" b="1" dirty="0">
            <a:effectLst>
              <a:outerShdw blurRad="50800" dist="38100" dir="2700000" algn="tl" rotWithShape="0">
                <a:prstClr val="black">
                  <a:alpha val="40000"/>
                </a:prstClr>
              </a:outerShdw>
            </a:effectLst>
          </a:endParaRPr>
        </a:p>
      </dgm:t>
    </dgm:pt>
    <dgm:pt modelId="{F409B74A-4849-4F40-B00A-E62D8179565D}" type="parTrans" cxnId="{1BA6F9EE-A2DD-0743-9AB9-02C159019733}">
      <dgm:prSet/>
      <dgm:spPr/>
      <dgm:t>
        <a:bodyPr/>
        <a:lstStyle/>
        <a:p>
          <a:endParaRPr lang="en-US"/>
        </a:p>
      </dgm:t>
    </dgm:pt>
    <dgm:pt modelId="{3897B640-7E39-3E42-96E9-264EBC4AEE1F}" type="sibTrans" cxnId="{1BA6F9EE-A2DD-0743-9AB9-02C159019733}">
      <dgm:prSet/>
      <dgm:spPr/>
      <dgm:t>
        <a:bodyPr/>
        <a:lstStyle/>
        <a:p>
          <a:endParaRPr lang="en-US"/>
        </a:p>
      </dgm:t>
    </dgm:pt>
    <dgm:pt modelId="{480C2FAB-0A28-DC43-92DE-A584FB0DAE31}">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Targeted offers / content displayed</a:t>
          </a:r>
          <a:endParaRPr lang="en-US" b="1" dirty="0">
            <a:effectLst>
              <a:outerShdw blurRad="50800" dist="38100" dir="2700000" algn="tl" rotWithShape="0">
                <a:prstClr val="black">
                  <a:alpha val="40000"/>
                </a:prstClr>
              </a:outerShdw>
            </a:effectLst>
          </a:endParaRPr>
        </a:p>
      </dgm:t>
    </dgm:pt>
    <dgm:pt modelId="{D5307D3E-A636-324D-8C3A-9829230BB487}" type="parTrans" cxnId="{468376E6-F32C-784C-AF1C-F32F9EEE22F0}">
      <dgm:prSet/>
      <dgm:spPr/>
      <dgm:t>
        <a:bodyPr/>
        <a:lstStyle/>
        <a:p>
          <a:endParaRPr lang="en-US"/>
        </a:p>
      </dgm:t>
    </dgm:pt>
    <dgm:pt modelId="{A7E8F226-EDDB-004D-8FA7-624FBA8EE44D}" type="sibTrans" cxnId="{468376E6-F32C-784C-AF1C-F32F9EEE22F0}">
      <dgm:prSet/>
      <dgm:spPr/>
      <dgm:t>
        <a:bodyPr/>
        <a:lstStyle/>
        <a:p>
          <a:endParaRPr lang="en-US"/>
        </a:p>
      </dgm:t>
    </dgm:pt>
    <dgm:pt modelId="{73C75B63-3273-2346-8A61-65D3F5E8CBC0}">
      <dgm:prSet phldrT="[Text]"/>
      <dgm:spPr>
        <a:solidFill>
          <a:schemeClr val="accent1">
            <a:lumMod val="60000"/>
            <a:lumOff val="40000"/>
          </a:schemeClr>
        </a:solidFill>
        <a:ln w="101600" cmpd="dbl">
          <a:solidFill>
            <a:srgbClr val="FFFFFF"/>
          </a:solidFill>
        </a:ln>
      </dgm:spPr>
      <dgm:t>
        <a:bodyPr lIns="91440" tIns="18288" rIns="91440"/>
        <a:lstStyle/>
        <a:p>
          <a:r>
            <a:rPr lang="en-US" b="1" dirty="0" smtClean="0">
              <a:effectLst>
                <a:outerShdw blurRad="50800" dist="38100" dir="2700000" algn="tl" rotWithShape="0">
                  <a:prstClr val="black">
                    <a:alpha val="40000"/>
                  </a:prstClr>
                </a:outerShdw>
              </a:effectLst>
            </a:rPr>
            <a:t>Messaging + Unique Selling Points adjusted by user segment</a:t>
          </a:r>
          <a:endParaRPr lang="en-US" b="1" dirty="0">
            <a:effectLst>
              <a:outerShdw blurRad="50800" dist="38100" dir="2700000" algn="tl" rotWithShape="0">
                <a:prstClr val="black">
                  <a:alpha val="40000"/>
                </a:prstClr>
              </a:outerShdw>
            </a:effectLst>
          </a:endParaRPr>
        </a:p>
      </dgm:t>
    </dgm:pt>
    <dgm:pt modelId="{411D2A1A-9B4A-674A-B93D-2C923CBCDFDB}" type="parTrans" cxnId="{DE82662A-7317-3A44-9B7E-83AB1D77A8E6}">
      <dgm:prSet/>
      <dgm:spPr/>
      <dgm:t>
        <a:bodyPr/>
        <a:lstStyle/>
        <a:p>
          <a:endParaRPr lang="en-US"/>
        </a:p>
      </dgm:t>
    </dgm:pt>
    <dgm:pt modelId="{0DA3E687-69A2-C040-A91D-CC726019B849}" type="sibTrans" cxnId="{DE82662A-7317-3A44-9B7E-83AB1D77A8E6}">
      <dgm:prSet/>
      <dgm:spPr/>
      <dgm:t>
        <a:bodyPr/>
        <a:lstStyle/>
        <a:p>
          <a:endParaRPr lang="en-US"/>
        </a:p>
      </dgm:t>
    </dgm:pt>
    <dgm:pt modelId="{D069104F-4C0B-3147-953F-A5D93E0C8F12}">
      <dgm:prSet phldrT="[Text]"/>
      <dgm:spPr>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easonality</a:t>
          </a:r>
          <a:endParaRPr lang="en-US" b="1" dirty="0">
            <a:effectLst>
              <a:outerShdw blurRad="50800" dist="38100" dir="2700000" algn="tl" rotWithShape="0">
                <a:prstClr val="black">
                  <a:alpha val="40000"/>
                </a:prstClr>
              </a:outerShdw>
            </a:effectLst>
          </a:endParaRPr>
        </a:p>
      </dgm:t>
    </dgm:pt>
    <dgm:pt modelId="{E110FCDD-5DD2-7A49-B84B-225145A8853A}" type="parTrans" cxnId="{B456C1ED-CE32-F147-B0E7-907F06C4219F}">
      <dgm:prSet/>
      <dgm:spPr/>
      <dgm:t>
        <a:bodyPr/>
        <a:lstStyle/>
        <a:p>
          <a:endParaRPr lang="en-US"/>
        </a:p>
      </dgm:t>
    </dgm:pt>
    <dgm:pt modelId="{39A089AB-A795-484A-A4A6-264956AD86C0}" type="sibTrans" cxnId="{B456C1ED-CE32-F147-B0E7-907F06C4219F}">
      <dgm:prSet/>
      <dgm:spPr/>
      <dgm:t>
        <a:bodyPr/>
        <a:lstStyle/>
        <a:p>
          <a:endParaRPr lang="en-US"/>
        </a:p>
      </dgm:t>
    </dgm:pt>
    <dgm:pt modelId="{C3ACB4D6-7889-774B-A5F7-FFA378C074CF}">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oduct selection by season</a:t>
          </a:r>
          <a:endParaRPr lang="en-US" b="1" dirty="0">
            <a:effectLst>
              <a:outerShdw blurRad="50800" dist="38100" dir="2700000" algn="tl" rotWithShape="0">
                <a:prstClr val="black">
                  <a:alpha val="40000"/>
                </a:prstClr>
              </a:outerShdw>
            </a:effectLst>
          </a:endParaRPr>
        </a:p>
      </dgm:t>
    </dgm:pt>
    <dgm:pt modelId="{2D781344-65A3-CC42-AE48-89E6ECA195E3}" type="parTrans" cxnId="{B03B2853-7799-6542-973F-38921B9C59DC}">
      <dgm:prSet/>
      <dgm:spPr/>
      <dgm:t>
        <a:bodyPr/>
        <a:lstStyle/>
        <a:p>
          <a:endParaRPr lang="en-US"/>
        </a:p>
      </dgm:t>
    </dgm:pt>
    <dgm:pt modelId="{D38DE1B7-1B09-0E49-ACB8-C9CFDEF1647E}" type="sibTrans" cxnId="{B03B2853-7799-6542-973F-38921B9C59DC}">
      <dgm:prSet/>
      <dgm:spPr/>
      <dgm:t>
        <a:bodyPr/>
        <a:lstStyle/>
        <a:p>
          <a:endParaRPr lang="en-US"/>
        </a:p>
      </dgm:t>
    </dgm:pt>
    <dgm:pt modelId="{02A61A4C-1F65-A841-A4A7-C10C1A746FA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Tailor to varying user intent (purchase versus research)</a:t>
          </a:r>
          <a:endParaRPr lang="en-US" b="1" dirty="0">
            <a:effectLst>
              <a:outerShdw blurRad="50800" dist="38100" dir="2700000" algn="tl" rotWithShape="0">
                <a:prstClr val="black">
                  <a:alpha val="40000"/>
                </a:prstClr>
              </a:outerShdw>
            </a:effectLst>
          </a:endParaRPr>
        </a:p>
      </dgm:t>
    </dgm:pt>
    <dgm:pt modelId="{9197C098-8C8E-D049-B974-F3A046C386B0}" type="parTrans" cxnId="{44982454-02A3-964A-A7E9-6B1BED7E6639}">
      <dgm:prSet/>
      <dgm:spPr/>
      <dgm:t>
        <a:bodyPr/>
        <a:lstStyle/>
        <a:p>
          <a:endParaRPr lang="en-US"/>
        </a:p>
      </dgm:t>
    </dgm:pt>
    <dgm:pt modelId="{9C0643BD-024C-6945-806C-AD1907A088E2}" type="sibTrans" cxnId="{44982454-02A3-964A-A7E9-6B1BED7E6639}">
      <dgm:prSet/>
      <dgm:spPr/>
      <dgm:t>
        <a:bodyPr/>
        <a:lstStyle/>
        <a:p>
          <a:endParaRPr lang="en-US"/>
        </a:p>
      </dgm:t>
    </dgm:pt>
    <dgm:pt modelId="{6308DAA9-F7A4-2D4C-A7FF-EBCD8392D5B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Optimize landing pages per season</a:t>
          </a:r>
          <a:endParaRPr lang="en-US" b="1" dirty="0">
            <a:effectLst>
              <a:outerShdw blurRad="50800" dist="38100" dir="2700000" algn="tl" rotWithShape="0">
                <a:prstClr val="black">
                  <a:alpha val="40000"/>
                </a:prstClr>
              </a:outerShdw>
            </a:effectLst>
          </a:endParaRPr>
        </a:p>
      </dgm:t>
    </dgm:pt>
    <dgm:pt modelId="{2541B10E-6F92-C44B-974B-71F50AD1905E}" type="sibTrans" cxnId="{4C4FAA6A-FB05-D740-AF92-B5A4CD82B0CC}">
      <dgm:prSet/>
      <dgm:spPr/>
      <dgm:t>
        <a:bodyPr/>
        <a:lstStyle/>
        <a:p>
          <a:endParaRPr lang="en-US"/>
        </a:p>
      </dgm:t>
    </dgm:pt>
    <dgm:pt modelId="{9ACF3F41-8BA2-7647-A016-D4E5A2A50965}" type="parTrans" cxnId="{4C4FAA6A-FB05-D740-AF92-B5A4CD82B0CC}">
      <dgm:prSet/>
      <dgm:spPr/>
      <dgm:t>
        <a:bodyPr/>
        <a:lstStyle/>
        <a:p>
          <a:endParaRPr lang="en-US"/>
        </a:p>
      </dgm:t>
    </dgm:pt>
    <dgm:pt modelId="{A53C0CFE-184A-1146-8FA6-FFD39694D4B0}">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Marketing + Imagery per audience</a:t>
          </a:r>
          <a:endParaRPr lang="en-US" b="1" dirty="0">
            <a:effectLst>
              <a:outerShdw blurRad="50800" dist="38100" dir="2700000" algn="tl" rotWithShape="0">
                <a:prstClr val="black">
                  <a:alpha val="40000"/>
                </a:prstClr>
              </a:outerShdw>
            </a:effectLst>
          </a:endParaRPr>
        </a:p>
      </dgm:t>
    </dgm:pt>
    <dgm:pt modelId="{713A8226-1B84-4E41-A1CB-EBD5E7CFFDE7}" type="sibTrans" cxnId="{DE475260-3A92-934F-B6B6-0F0EE16460F4}">
      <dgm:prSet/>
      <dgm:spPr/>
      <dgm:t>
        <a:bodyPr/>
        <a:lstStyle/>
        <a:p>
          <a:endParaRPr lang="en-US"/>
        </a:p>
      </dgm:t>
    </dgm:pt>
    <dgm:pt modelId="{3096FC50-CDEA-CD40-A16C-4FE101488966}" type="parTrans" cxnId="{DE475260-3A92-934F-B6B6-0F0EE16460F4}">
      <dgm:prSet/>
      <dgm:spPr/>
      <dgm:t>
        <a:bodyPr/>
        <a:lstStyle/>
        <a:p>
          <a:endParaRPr lang="en-US"/>
        </a:p>
      </dgm:t>
    </dgm:pt>
    <dgm:pt modelId="{5959550F-67B9-B04E-91C4-902A91EFE7E5}">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re-fill data</a:t>
          </a:r>
          <a:endParaRPr lang="en-US" b="1" dirty="0">
            <a:effectLst>
              <a:outerShdw blurRad="50800" dist="38100" dir="2700000" algn="tl" rotWithShape="0">
                <a:prstClr val="black">
                  <a:alpha val="40000"/>
                </a:prstClr>
              </a:outerShdw>
            </a:effectLst>
          </a:endParaRPr>
        </a:p>
      </dgm:t>
    </dgm:pt>
    <dgm:pt modelId="{13323021-6798-904F-A2E1-2BF25AC8C76A}" type="sibTrans" cxnId="{765F496A-DF0A-D340-82AA-515F7E305441}">
      <dgm:prSet/>
      <dgm:spPr/>
      <dgm:t>
        <a:bodyPr/>
        <a:lstStyle/>
        <a:p>
          <a:endParaRPr lang="en-US"/>
        </a:p>
      </dgm:t>
    </dgm:pt>
    <dgm:pt modelId="{BEEC9641-8114-8F4D-8D80-33DB53450849}" type="parTrans" cxnId="{765F496A-DF0A-D340-82AA-515F7E305441}">
      <dgm:prSet/>
      <dgm:spPr/>
      <dgm:t>
        <a:bodyPr/>
        <a:lstStyle/>
        <a:p>
          <a:endParaRPr lang="en-US"/>
        </a:p>
      </dgm:t>
    </dgm:pt>
    <dgm:pt modelId="{1DF3C01B-2614-5C42-80DD-7422BFA9073B}">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Redirect users to higher ROI funnel paths</a:t>
          </a:r>
          <a:endParaRPr lang="en-US" b="1" dirty="0">
            <a:effectLst>
              <a:outerShdw blurRad="50800" dist="38100" dir="2700000" algn="tl" rotWithShape="0">
                <a:prstClr val="black">
                  <a:alpha val="40000"/>
                </a:prstClr>
              </a:outerShdw>
            </a:effectLst>
          </a:endParaRPr>
        </a:p>
      </dgm:t>
    </dgm:pt>
    <dgm:pt modelId="{036CF8FE-F202-7F4F-841D-5436F4E76D0C}" type="sibTrans" cxnId="{D3656547-4FE9-5C46-8AF9-1BAE6BBB3612}">
      <dgm:prSet/>
      <dgm:spPr/>
      <dgm:t>
        <a:bodyPr/>
        <a:lstStyle/>
        <a:p>
          <a:endParaRPr lang="en-US"/>
        </a:p>
      </dgm:t>
    </dgm:pt>
    <dgm:pt modelId="{EFC072AF-A0F9-2340-A2B6-3F5834C6C0F3}" type="parTrans" cxnId="{D3656547-4FE9-5C46-8AF9-1BAE6BBB3612}">
      <dgm:prSet/>
      <dgm:spPr/>
      <dgm:t>
        <a:bodyPr/>
        <a:lstStyle/>
        <a:p>
          <a:endParaRPr lang="en-US"/>
        </a:p>
      </dgm:t>
    </dgm:pt>
    <dgm:pt modelId="{338A4ADE-7A0B-DA46-A749-6378547614AE}">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Push the same product types</a:t>
          </a:r>
          <a:endParaRPr lang="en-US" b="1" dirty="0">
            <a:effectLst>
              <a:outerShdw blurRad="50800" dist="38100" dir="2700000" algn="tl" rotWithShape="0">
                <a:prstClr val="black">
                  <a:alpha val="40000"/>
                </a:prstClr>
              </a:outerShdw>
            </a:effectLst>
          </a:endParaRPr>
        </a:p>
      </dgm:t>
    </dgm:pt>
    <dgm:pt modelId="{DAB67360-C5DA-964D-A265-B384EDA879CD}" type="sibTrans" cxnId="{6F47062D-6E63-1C4F-8B35-A2743E2FDBE3}">
      <dgm:prSet/>
      <dgm:spPr/>
      <dgm:t>
        <a:bodyPr/>
        <a:lstStyle/>
        <a:p>
          <a:endParaRPr lang="en-US"/>
        </a:p>
      </dgm:t>
    </dgm:pt>
    <dgm:pt modelId="{7085B25D-4135-BC43-B854-9EAACE03C079}" type="parTrans" cxnId="{6F47062D-6E63-1C4F-8B35-A2743E2FDBE3}">
      <dgm:prSet/>
      <dgm:spPr/>
      <dgm:t>
        <a:bodyPr/>
        <a:lstStyle/>
        <a:p>
          <a:endParaRPr lang="en-US"/>
        </a:p>
      </dgm:t>
    </dgm:pt>
    <dgm:pt modelId="{6ED0CB55-86AA-574C-ACD3-3B855323E998}">
      <dgm:prSet phldrT="[Text]"/>
      <dgm:spPr>
        <a:solidFill>
          <a:schemeClr val="accent1">
            <a:lumMod val="60000"/>
            <a:lumOff val="40000"/>
          </a:schemeClr>
        </a:solidFill>
        <a:ln w="101600" cmpd="dbl">
          <a:solidFill>
            <a:schemeClr val="bg1"/>
          </a:solidFill>
        </a:ln>
      </dgm:spPr>
      <dgm:t>
        <a:bodyPr lIns="91440" tIns="18288" rIns="91440"/>
        <a:lstStyle/>
        <a:p>
          <a:r>
            <a:rPr lang="en-US" b="1" dirty="0" smtClean="0">
              <a:effectLst>
                <a:outerShdw blurRad="50800" dist="38100" dir="2700000" algn="tl" rotWithShape="0">
                  <a:prstClr val="black">
                    <a:alpha val="40000"/>
                  </a:prstClr>
                </a:outerShdw>
              </a:effectLst>
            </a:rPr>
            <a:t>Simplify consultation</a:t>
          </a:r>
          <a:endParaRPr lang="en-US" b="1" dirty="0">
            <a:effectLst>
              <a:outerShdw blurRad="50800" dist="38100" dir="2700000" algn="tl" rotWithShape="0">
                <a:prstClr val="black">
                  <a:alpha val="40000"/>
                </a:prstClr>
              </a:outerShdw>
            </a:effectLst>
          </a:endParaRPr>
        </a:p>
      </dgm:t>
    </dgm:pt>
    <dgm:pt modelId="{29D931B7-5EF3-7C46-8DD6-E1AF7D9AF902}" type="sibTrans" cxnId="{2DB5EFD8-AA35-3D44-982F-3C839A1C30C0}">
      <dgm:prSet/>
      <dgm:spPr/>
      <dgm:t>
        <a:bodyPr/>
        <a:lstStyle/>
        <a:p>
          <a:endParaRPr lang="en-US"/>
        </a:p>
      </dgm:t>
    </dgm:pt>
    <dgm:pt modelId="{7D0052A5-00E7-E545-B888-401A40246FF3}" type="parTrans" cxnId="{2DB5EFD8-AA35-3D44-982F-3C839A1C30C0}">
      <dgm:prSet/>
      <dgm:spPr/>
      <dgm:t>
        <a:bodyPr/>
        <a:lstStyle/>
        <a:p>
          <a:endParaRPr lang="en-US"/>
        </a:p>
      </dgm:t>
    </dgm:pt>
    <dgm:pt modelId="{30607E5D-7EC8-8446-AD48-AEEC633315C8}" type="pres">
      <dgm:prSet presAssocID="{AF3357FD-18B0-1644-966C-BCE3778B58DD}" presName="hierChild1" presStyleCnt="0">
        <dgm:presLayoutVars>
          <dgm:orgChart val="1"/>
          <dgm:chPref val="1"/>
          <dgm:dir/>
          <dgm:animOne val="branch"/>
          <dgm:animLvl val="lvl"/>
          <dgm:resizeHandles/>
        </dgm:presLayoutVars>
      </dgm:prSet>
      <dgm:spPr/>
      <dgm:t>
        <a:bodyPr/>
        <a:lstStyle/>
        <a:p>
          <a:endParaRPr lang="en-US"/>
        </a:p>
      </dgm:t>
    </dgm:pt>
    <dgm:pt modelId="{01768E30-7C00-9D46-B106-9803EF77DB72}" type="pres">
      <dgm:prSet presAssocID="{25517EF2-3665-EB4B-9D7F-2C037C685C4E}" presName="hierRoot1" presStyleCnt="0">
        <dgm:presLayoutVars>
          <dgm:hierBranch val="init"/>
        </dgm:presLayoutVars>
      </dgm:prSet>
      <dgm:spPr/>
    </dgm:pt>
    <dgm:pt modelId="{37E44035-6D06-FE4D-927A-CD14E98DC4F7}" type="pres">
      <dgm:prSet presAssocID="{25517EF2-3665-EB4B-9D7F-2C037C685C4E}" presName="rootComposite1" presStyleCnt="0"/>
      <dgm:spPr/>
    </dgm:pt>
    <dgm:pt modelId="{06637420-A86F-4644-990A-75D86B7E454C}" type="pres">
      <dgm:prSet presAssocID="{25517EF2-3665-EB4B-9D7F-2C037C685C4E}" presName="rootText1" presStyleLbl="node0" presStyleIdx="0" presStyleCnt="1" custScaleX="125731" custScaleY="163289">
        <dgm:presLayoutVars>
          <dgm:chPref val="3"/>
        </dgm:presLayoutVars>
      </dgm:prSet>
      <dgm:spPr>
        <a:prstGeom prst="roundRect">
          <a:avLst/>
        </a:prstGeom>
      </dgm:spPr>
      <dgm:t>
        <a:bodyPr/>
        <a:lstStyle/>
        <a:p>
          <a:endParaRPr lang="en-US"/>
        </a:p>
      </dgm:t>
    </dgm:pt>
    <dgm:pt modelId="{466535D8-AEE6-1D47-974F-880041EEEAA5}" type="pres">
      <dgm:prSet presAssocID="{25517EF2-3665-EB4B-9D7F-2C037C685C4E}" presName="rootConnector1" presStyleLbl="node1" presStyleIdx="0" presStyleCnt="0"/>
      <dgm:spPr/>
      <dgm:t>
        <a:bodyPr/>
        <a:lstStyle/>
        <a:p>
          <a:endParaRPr lang="en-US"/>
        </a:p>
      </dgm:t>
    </dgm:pt>
    <dgm:pt modelId="{C176592F-E087-B04D-9588-EF6FC2F92869}" type="pres">
      <dgm:prSet presAssocID="{25517EF2-3665-EB4B-9D7F-2C037C685C4E}" presName="hierChild2" presStyleCnt="0"/>
      <dgm:spPr/>
    </dgm:pt>
    <dgm:pt modelId="{0F5D9B2B-0CE6-4D47-A7B6-80BAEBDC59FC}" type="pres">
      <dgm:prSet presAssocID="{07AFA923-B56F-0042-B585-5B06F0FA0896}" presName="Name37" presStyleLbl="parChTrans1D2" presStyleIdx="0" presStyleCnt="6" custSzY="569430"/>
      <dgm:spPr/>
      <dgm:t>
        <a:bodyPr/>
        <a:lstStyle/>
        <a:p>
          <a:endParaRPr lang="en-US"/>
        </a:p>
      </dgm:t>
    </dgm:pt>
    <dgm:pt modelId="{0F65DF5F-EBEB-B343-9794-35C42F4DC89D}" type="pres">
      <dgm:prSet presAssocID="{4B26847B-222F-E04F-B93F-7958496DA65C}" presName="hierRoot2" presStyleCnt="0">
        <dgm:presLayoutVars>
          <dgm:hierBranch val="init"/>
        </dgm:presLayoutVars>
      </dgm:prSet>
      <dgm:spPr/>
    </dgm:pt>
    <dgm:pt modelId="{D29FBFF0-EB79-0F4F-8C4A-4AF2BBB0A047}" type="pres">
      <dgm:prSet presAssocID="{4B26847B-222F-E04F-B93F-7958496DA65C}" presName="rootComposite" presStyleCnt="0"/>
      <dgm:spPr/>
    </dgm:pt>
    <dgm:pt modelId="{91D7ADA8-1475-9349-913E-9C2D53C1D7C9}" type="pres">
      <dgm:prSet presAssocID="{4B26847B-222F-E04F-B93F-7958496DA65C}" presName="rootText" presStyleLbl="node2" presStyleIdx="0" presStyleCnt="6" custScaleX="122545" custScaleY="163289">
        <dgm:presLayoutVars>
          <dgm:chPref val="3"/>
        </dgm:presLayoutVars>
      </dgm:prSet>
      <dgm:spPr>
        <a:prstGeom prst="roundRect">
          <a:avLst/>
        </a:prstGeom>
      </dgm:spPr>
      <dgm:t>
        <a:bodyPr/>
        <a:lstStyle/>
        <a:p>
          <a:endParaRPr lang="en-US"/>
        </a:p>
      </dgm:t>
    </dgm:pt>
    <dgm:pt modelId="{A7DBADC9-C072-5C48-A3E3-552A2F42BAEE}" type="pres">
      <dgm:prSet presAssocID="{4B26847B-222F-E04F-B93F-7958496DA65C}" presName="rootConnector" presStyleLbl="node2" presStyleIdx="0" presStyleCnt="6"/>
      <dgm:spPr/>
      <dgm:t>
        <a:bodyPr/>
        <a:lstStyle/>
        <a:p>
          <a:endParaRPr lang="en-US"/>
        </a:p>
      </dgm:t>
    </dgm:pt>
    <dgm:pt modelId="{69158542-B581-0247-BAE6-60E62584FEB9}" type="pres">
      <dgm:prSet presAssocID="{4B26847B-222F-E04F-B93F-7958496DA65C}" presName="hierChild4" presStyleCnt="0"/>
      <dgm:spPr/>
    </dgm:pt>
    <dgm:pt modelId="{44E963F3-2784-9E43-9E90-000EB562AE2A}" type="pres">
      <dgm:prSet presAssocID="{33424807-C11D-7C4A-85E7-BB0E19ACD352}" presName="Name37" presStyleLbl="parChTrans1D3" presStyleIdx="0" presStyleCnt="18" custSzY="1501939"/>
      <dgm:spPr/>
      <dgm:t>
        <a:bodyPr/>
        <a:lstStyle/>
        <a:p>
          <a:endParaRPr lang="en-US"/>
        </a:p>
      </dgm:t>
    </dgm:pt>
    <dgm:pt modelId="{53955494-3838-2F45-BEBB-CE94816E60BA}" type="pres">
      <dgm:prSet presAssocID="{50B35D2E-59F3-7346-A146-7B84569A5183}" presName="hierRoot2" presStyleCnt="0">
        <dgm:presLayoutVars>
          <dgm:hierBranch val="init"/>
        </dgm:presLayoutVars>
      </dgm:prSet>
      <dgm:spPr/>
    </dgm:pt>
    <dgm:pt modelId="{282371C0-CB9F-F142-BFE4-23129E24152E}" type="pres">
      <dgm:prSet presAssocID="{50B35D2E-59F3-7346-A146-7B84569A5183}" presName="rootComposite" presStyleCnt="0"/>
      <dgm:spPr/>
    </dgm:pt>
    <dgm:pt modelId="{2ED78204-93EC-064C-823A-1586CD82394C}" type="pres">
      <dgm:prSet presAssocID="{50B35D2E-59F3-7346-A146-7B84569A5183}" presName="rootText" presStyleLbl="node3" presStyleIdx="0" presStyleCnt="18" custScaleY="163289">
        <dgm:presLayoutVars>
          <dgm:chPref val="3"/>
        </dgm:presLayoutVars>
      </dgm:prSet>
      <dgm:spPr>
        <a:prstGeom prst="roundRect">
          <a:avLst/>
        </a:prstGeom>
      </dgm:spPr>
      <dgm:t>
        <a:bodyPr/>
        <a:lstStyle/>
        <a:p>
          <a:endParaRPr lang="en-US"/>
        </a:p>
      </dgm:t>
    </dgm:pt>
    <dgm:pt modelId="{36770380-7547-ED48-AB39-E00707E5AE49}" type="pres">
      <dgm:prSet presAssocID="{50B35D2E-59F3-7346-A146-7B84569A5183}" presName="rootConnector" presStyleLbl="node3" presStyleIdx="0" presStyleCnt="18"/>
      <dgm:spPr/>
      <dgm:t>
        <a:bodyPr/>
        <a:lstStyle/>
        <a:p>
          <a:endParaRPr lang="en-US"/>
        </a:p>
      </dgm:t>
    </dgm:pt>
    <dgm:pt modelId="{7FD810D4-2EE4-0A43-B7CD-AE490DD9C8B4}" type="pres">
      <dgm:prSet presAssocID="{50B35D2E-59F3-7346-A146-7B84569A5183}" presName="hierChild4" presStyleCnt="0"/>
      <dgm:spPr/>
    </dgm:pt>
    <dgm:pt modelId="{A06DA4CD-7588-714E-AB31-0B7105F724FF}" type="pres">
      <dgm:prSet presAssocID="{50B35D2E-59F3-7346-A146-7B84569A5183}" presName="hierChild5" presStyleCnt="0"/>
      <dgm:spPr/>
    </dgm:pt>
    <dgm:pt modelId="{88E2A4D5-E62D-B048-BDF2-2627D68216CE}" type="pres">
      <dgm:prSet presAssocID="{3B5A4386-A293-8747-A207-2A8D5CABEA7A}" presName="Name37" presStyleLbl="parChTrans1D3" presStyleIdx="1" presStyleCnt="18" custSzY="3936388"/>
      <dgm:spPr/>
      <dgm:t>
        <a:bodyPr/>
        <a:lstStyle/>
        <a:p>
          <a:endParaRPr lang="en-US"/>
        </a:p>
      </dgm:t>
    </dgm:pt>
    <dgm:pt modelId="{C7C9DA51-6B03-C94F-93CB-D44D3137A8B1}" type="pres">
      <dgm:prSet presAssocID="{C6588B98-FB28-334E-BDCA-56820ACB0569}" presName="hierRoot2" presStyleCnt="0">
        <dgm:presLayoutVars>
          <dgm:hierBranch val="init"/>
        </dgm:presLayoutVars>
      </dgm:prSet>
      <dgm:spPr/>
    </dgm:pt>
    <dgm:pt modelId="{CCCCC64E-4161-4D41-9593-1A4F78C7EF17}" type="pres">
      <dgm:prSet presAssocID="{C6588B98-FB28-334E-BDCA-56820ACB0569}" presName="rootComposite" presStyleCnt="0"/>
      <dgm:spPr/>
    </dgm:pt>
    <dgm:pt modelId="{3B98D480-5A9A-0A4D-8BDC-FE216FA48EE4}" type="pres">
      <dgm:prSet presAssocID="{C6588B98-FB28-334E-BDCA-56820ACB0569}" presName="rootText" presStyleLbl="node3" presStyleIdx="1" presStyleCnt="18" custScaleY="163289">
        <dgm:presLayoutVars>
          <dgm:chPref val="3"/>
        </dgm:presLayoutVars>
      </dgm:prSet>
      <dgm:spPr>
        <a:prstGeom prst="roundRect">
          <a:avLst/>
        </a:prstGeom>
      </dgm:spPr>
      <dgm:t>
        <a:bodyPr/>
        <a:lstStyle/>
        <a:p>
          <a:endParaRPr lang="en-US"/>
        </a:p>
      </dgm:t>
    </dgm:pt>
    <dgm:pt modelId="{CCA6A030-3016-FB4D-BB2D-797B6CA6511F}" type="pres">
      <dgm:prSet presAssocID="{C6588B98-FB28-334E-BDCA-56820ACB0569}" presName="rootConnector" presStyleLbl="node3" presStyleIdx="1" presStyleCnt="18"/>
      <dgm:spPr/>
      <dgm:t>
        <a:bodyPr/>
        <a:lstStyle/>
        <a:p>
          <a:endParaRPr lang="en-US"/>
        </a:p>
      </dgm:t>
    </dgm:pt>
    <dgm:pt modelId="{893D50E5-BFD6-374D-B623-8C8F06D30FB9}" type="pres">
      <dgm:prSet presAssocID="{C6588B98-FB28-334E-BDCA-56820ACB0569}" presName="hierChild4" presStyleCnt="0"/>
      <dgm:spPr/>
    </dgm:pt>
    <dgm:pt modelId="{9A169D03-FEAA-964F-82BE-17DF2B44F83D}" type="pres">
      <dgm:prSet presAssocID="{C6588B98-FB28-334E-BDCA-56820ACB0569}" presName="hierChild5" presStyleCnt="0"/>
      <dgm:spPr/>
    </dgm:pt>
    <dgm:pt modelId="{CDA8158C-1C6B-024B-9E64-1510DD2C7A55}" type="pres">
      <dgm:prSet presAssocID="{7D0052A5-00E7-E545-B888-401A40246FF3}" presName="Name37" presStyleLbl="parChTrans1D3" presStyleIdx="2" presStyleCnt="18" custSzY="6370837"/>
      <dgm:spPr/>
      <dgm:t>
        <a:bodyPr/>
        <a:lstStyle/>
        <a:p>
          <a:endParaRPr lang="en-US"/>
        </a:p>
      </dgm:t>
    </dgm:pt>
    <dgm:pt modelId="{86D1A16A-2EDC-7B49-BDD5-ADA121CED2D3}" type="pres">
      <dgm:prSet presAssocID="{6ED0CB55-86AA-574C-ACD3-3B855323E998}" presName="hierRoot2" presStyleCnt="0">
        <dgm:presLayoutVars>
          <dgm:hierBranch val="init"/>
        </dgm:presLayoutVars>
      </dgm:prSet>
      <dgm:spPr/>
    </dgm:pt>
    <dgm:pt modelId="{64FB60A2-29ED-0C42-82BE-AEF32C4DEBD0}" type="pres">
      <dgm:prSet presAssocID="{6ED0CB55-86AA-574C-ACD3-3B855323E998}" presName="rootComposite" presStyleCnt="0"/>
      <dgm:spPr/>
    </dgm:pt>
    <dgm:pt modelId="{2C0E0A56-4821-5340-9545-5653DBEF3E82}" type="pres">
      <dgm:prSet presAssocID="{6ED0CB55-86AA-574C-ACD3-3B855323E998}" presName="rootText" presStyleLbl="node3" presStyleIdx="2" presStyleCnt="18" custScaleY="163289">
        <dgm:presLayoutVars>
          <dgm:chPref val="3"/>
        </dgm:presLayoutVars>
      </dgm:prSet>
      <dgm:spPr>
        <a:prstGeom prst="roundRect">
          <a:avLst/>
        </a:prstGeom>
      </dgm:spPr>
      <dgm:t>
        <a:bodyPr/>
        <a:lstStyle/>
        <a:p>
          <a:endParaRPr lang="en-US"/>
        </a:p>
      </dgm:t>
    </dgm:pt>
    <dgm:pt modelId="{10D8D681-CBDA-D246-9198-063E1F1463D5}" type="pres">
      <dgm:prSet presAssocID="{6ED0CB55-86AA-574C-ACD3-3B855323E998}" presName="rootConnector" presStyleLbl="node3" presStyleIdx="2" presStyleCnt="18"/>
      <dgm:spPr/>
      <dgm:t>
        <a:bodyPr/>
        <a:lstStyle/>
        <a:p>
          <a:endParaRPr lang="en-US"/>
        </a:p>
      </dgm:t>
    </dgm:pt>
    <dgm:pt modelId="{CC9BABF7-5A8C-E043-A639-9D9F60E49EB2}" type="pres">
      <dgm:prSet presAssocID="{6ED0CB55-86AA-574C-ACD3-3B855323E998}" presName="hierChild4" presStyleCnt="0"/>
      <dgm:spPr/>
    </dgm:pt>
    <dgm:pt modelId="{CE13E513-7EF6-3C4A-BF03-7E569F8E0EFD}" type="pres">
      <dgm:prSet presAssocID="{6ED0CB55-86AA-574C-ACD3-3B855323E998}" presName="hierChild5" presStyleCnt="0"/>
      <dgm:spPr/>
    </dgm:pt>
    <dgm:pt modelId="{99494E59-30AF-C84C-8FAD-74D70922C5BB}" type="pres">
      <dgm:prSet presAssocID="{4B26847B-222F-E04F-B93F-7958496DA65C}" presName="hierChild5" presStyleCnt="0"/>
      <dgm:spPr/>
    </dgm:pt>
    <dgm:pt modelId="{6AB3DB73-5383-E944-8E93-5490DBAC07ED}" type="pres">
      <dgm:prSet presAssocID="{F5F28F68-69DA-C347-938A-3CCF605B29AB}" presName="Name37" presStyleLbl="parChTrans1D2" presStyleIdx="1" presStyleCnt="6" custSzY="569430"/>
      <dgm:spPr/>
      <dgm:t>
        <a:bodyPr/>
        <a:lstStyle/>
        <a:p>
          <a:endParaRPr lang="en-US"/>
        </a:p>
      </dgm:t>
    </dgm:pt>
    <dgm:pt modelId="{063E0CF9-7144-D34B-96D0-290257049F24}" type="pres">
      <dgm:prSet presAssocID="{C70D9AAD-288E-0B4A-A4D2-9169EEB4C5EF}" presName="hierRoot2" presStyleCnt="0">
        <dgm:presLayoutVars>
          <dgm:hierBranch val="init"/>
        </dgm:presLayoutVars>
      </dgm:prSet>
      <dgm:spPr/>
    </dgm:pt>
    <dgm:pt modelId="{9D7957A4-BCF4-A64B-9FA8-89318DD7C26C}" type="pres">
      <dgm:prSet presAssocID="{C70D9AAD-288E-0B4A-A4D2-9169EEB4C5EF}" presName="rootComposite" presStyleCnt="0"/>
      <dgm:spPr/>
    </dgm:pt>
    <dgm:pt modelId="{6A1B3FF2-4302-AB42-9144-D0C7AF33189D}" type="pres">
      <dgm:prSet presAssocID="{C70D9AAD-288E-0B4A-A4D2-9169EEB4C5EF}" presName="rootText" presStyleLbl="node2" presStyleIdx="1" presStyleCnt="6" custScaleX="122545" custScaleY="163289">
        <dgm:presLayoutVars>
          <dgm:chPref val="3"/>
        </dgm:presLayoutVars>
      </dgm:prSet>
      <dgm:spPr>
        <a:prstGeom prst="roundRect">
          <a:avLst/>
        </a:prstGeom>
      </dgm:spPr>
      <dgm:t>
        <a:bodyPr/>
        <a:lstStyle/>
        <a:p>
          <a:endParaRPr lang="en-US"/>
        </a:p>
      </dgm:t>
    </dgm:pt>
    <dgm:pt modelId="{A8476105-19F1-B646-B233-7DFE7667D28F}" type="pres">
      <dgm:prSet presAssocID="{C70D9AAD-288E-0B4A-A4D2-9169EEB4C5EF}" presName="rootConnector" presStyleLbl="node2" presStyleIdx="1" presStyleCnt="6"/>
      <dgm:spPr/>
      <dgm:t>
        <a:bodyPr/>
        <a:lstStyle/>
        <a:p>
          <a:endParaRPr lang="en-US"/>
        </a:p>
      </dgm:t>
    </dgm:pt>
    <dgm:pt modelId="{DB85212C-909C-BE4F-9C57-AA092C9F8F68}" type="pres">
      <dgm:prSet presAssocID="{C70D9AAD-288E-0B4A-A4D2-9169EEB4C5EF}" presName="hierChild4" presStyleCnt="0"/>
      <dgm:spPr/>
    </dgm:pt>
    <dgm:pt modelId="{FCB70BC6-8BC2-7740-8498-E09039141FAE}" type="pres">
      <dgm:prSet presAssocID="{705E07FB-4646-5640-AD39-5663CA022EE0}" presName="Name37" presStyleLbl="parChTrans1D3" presStyleIdx="3" presStyleCnt="18" custSzY="1501939"/>
      <dgm:spPr/>
      <dgm:t>
        <a:bodyPr/>
        <a:lstStyle/>
        <a:p>
          <a:endParaRPr lang="en-US"/>
        </a:p>
      </dgm:t>
    </dgm:pt>
    <dgm:pt modelId="{8A2CB56E-93D1-874C-81A9-9FAC0DA015D2}" type="pres">
      <dgm:prSet presAssocID="{BA6FF226-3807-2346-A740-CE3E60981FB3}" presName="hierRoot2" presStyleCnt="0">
        <dgm:presLayoutVars>
          <dgm:hierBranch val="init"/>
        </dgm:presLayoutVars>
      </dgm:prSet>
      <dgm:spPr/>
    </dgm:pt>
    <dgm:pt modelId="{56803695-D01D-974E-959F-E4FC5996044F}" type="pres">
      <dgm:prSet presAssocID="{BA6FF226-3807-2346-A740-CE3E60981FB3}" presName="rootComposite" presStyleCnt="0"/>
      <dgm:spPr/>
    </dgm:pt>
    <dgm:pt modelId="{22959F47-69F7-D445-9334-5C7C176A2653}" type="pres">
      <dgm:prSet presAssocID="{BA6FF226-3807-2346-A740-CE3E60981FB3}" presName="rootText" presStyleLbl="node3" presStyleIdx="3" presStyleCnt="18" custScaleY="163289">
        <dgm:presLayoutVars>
          <dgm:chPref val="3"/>
        </dgm:presLayoutVars>
      </dgm:prSet>
      <dgm:spPr>
        <a:prstGeom prst="roundRect">
          <a:avLst/>
        </a:prstGeom>
      </dgm:spPr>
      <dgm:t>
        <a:bodyPr/>
        <a:lstStyle/>
        <a:p>
          <a:endParaRPr lang="en-US"/>
        </a:p>
      </dgm:t>
    </dgm:pt>
    <dgm:pt modelId="{8C060B5F-BBBF-2049-9E6B-A69B2A074D8E}" type="pres">
      <dgm:prSet presAssocID="{BA6FF226-3807-2346-A740-CE3E60981FB3}" presName="rootConnector" presStyleLbl="node3" presStyleIdx="3" presStyleCnt="18"/>
      <dgm:spPr/>
      <dgm:t>
        <a:bodyPr/>
        <a:lstStyle/>
        <a:p>
          <a:endParaRPr lang="en-US"/>
        </a:p>
      </dgm:t>
    </dgm:pt>
    <dgm:pt modelId="{175F2BE5-9841-E24D-8258-D4DAB9588C96}" type="pres">
      <dgm:prSet presAssocID="{BA6FF226-3807-2346-A740-CE3E60981FB3}" presName="hierChild4" presStyleCnt="0"/>
      <dgm:spPr/>
    </dgm:pt>
    <dgm:pt modelId="{6C96FA0A-0A57-4A45-A656-B89BDED585EB}" type="pres">
      <dgm:prSet presAssocID="{BA6FF226-3807-2346-A740-CE3E60981FB3}" presName="hierChild5" presStyleCnt="0"/>
      <dgm:spPr/>
    </dgm:pt>
    <dgm:pt modelId="{6CD5F04D-881E-FF45-840F-9065F725359E}" type="pres">
      <dgm:prSet presAssocID="{537E3EB2-8400-9F46-8E14-018A525A6F13}" presName="Name37" presStyleLbl="parChTrans1D3" presStyleIdx="4" presStyleCnt="18" custSzY="3936388"/>
      <dgm:spPr/>
      <dgm:t>
        <a:bodyPr/>
        <a:lstStyle/>
        <a:p>
          <a:endParaRPr lang="en-US"/>
        </a:p>
      </dgm:t>
    </dgm:pt>
    <dgm:pt modelId="{EEB1F1F6-A420-3B4D-83C3-44A0874B3872}" type="pres">
      <dgm:prSet presAssocID="{8C2CA5B6-6500-9D43-9984-AE6727A18F74}" presName="hierRoot2" presStyleCnt="0">
        <dgm:presLayoutVars>
          <dgm:hierBranch val="init"/>
        </dgm:presLayoutVars>
      </dgm:prSet>
      <dgm:spPr/>
    </dgm:pt>
    <dgm:pt modelId="{866BA078-C3D3-2F4C-A7CC-2903AAEBC56E}" type="pres">
      <dgm:prSet presAssocID="{8C2CA5B6-6500-9D43-9984-AE6727A18F74}" presName="rootComposite" presStyleCnt="0"/>
      <dgm:spPr/>
    </dgm:pt>
    <dgm:pt modelId="{35471471-CB84-0746-BDD4-1655B6C5471A}" type="pres">
      <dgm:prSet presAssocID="{8C2CA5B6-6500-9D43-9984-AE6727A18F74}" presName="rootText" presStyleLbl="node3" presStyleIdx="4" presStyleCnt="18" custScaleY="163289">
        <dgm:presLayoutVars>
          <dgm:chPref val="3"/>
        </dgm:presLayoutVars>
      </dgm:prSet>
      <dgm:spPr>
        <a:prstGeom prst="roundRect">
          <a:avLst/>
        </a:prstGeom>
      </dgm:spPr>
      <dgm:t>
        <a:bodyPr/>
        <a:lstStyle/>
        <a:p>
          <a:endParaRPr lang="en-US"/>
        </a:p>
      </dgm:t>
    </dgm:pt>
    <dgm:pt modelId="{BF48F31E-442A-8542-BEC6-8A1283ECC0DC}" type="pres">
      <dgm:prSet presAssocID="{8C2CA5B6-6500-9D43-9984-AE6727A18F74}" presName="rootConnector" presStyleLbl="node3" presStyleIdx="4" presStyleCnt="18"/>
      <dgm:spPr/>
      <dgm:t>
        <a:bodyPr/>
        <a:lstStyle/>
        <a:p>
          <a:endParaRPr lang="en-US"/>
        </a:p>
      </dgm:t>
    </dgm:pt>
    <dgm:pt modelId="{2F554D91-DC1D-3A4B-BD01-7DD0FBADA47A}" type="pres">
      <dgm:prSet presAssocID="{8C2CA5B6-6500-9D43-9984-AE6727A18F74}" presName="hierChild4" presStyleCnt="0"/>
      <dgm:spPr/>
    </dgm:pt>
    <dgm:pt modelId="{5C57C97C-2160-274D-A8EF-85D36B4657F0}" type="pres">
      <dgm:prSet presAssocID="{8C2CA5B6-6500-9D43-9984-AE6727A18F74}" presName="hierChild5" presStyleCnt="0"/>
      <dgm:spPr/>
    </dgm:pt>
    <dgm:pt modelId="{2DC6FEB6-D342-A148-B4E4-3574392637D2}" type="pres">
      <dgm:prSet presAssocID="{7085B25D-4135-BC43-B854-9EAACE03C079}" presName="Name37" presStyleLbl="parChTrans1D3" presStyleIdx="5" presStyleCnt="18" custSzY="6370837"/>
      <dgm:spPr/>
      <dgm:t>
        <a:bodyPr/>
        <a:lstStyle/>
        <a:p>
          <a:endParaRPr lang="en-US"/>
        </a:p>
      </dgm:t>
    </dgm:pt>
    <dgm:pt modelId="{E7C14A77-D7F1-1E41-9F22-78FC6F14D5DD}" type="pres">
      <dgm:prSet presAssocID="{338A4ADE-7A0B-DA46-A749-6378547614AE}" presName="hierRoot2" presStyleCnt="0">
        <dgm:presLayoutVars>
          <dgm:hierBranch val="init"/>
        </dgm:presLayoutVars>
      </dgm:prSet>
      <dgm:spPr/>
    </dgm:pt>
    <dgm:pt modelId="{345D217C-C154-0B4F-9496-F18800B28FFF}" type="pres">
      <dgm:prSet presAssocID="{338A4ADE-7A0B-DA46-A749-6378547614AE}" presName="rootComposite" presStyleCnt="0"/>
      <dgm:spPr/>
    </dgm:pt>
    <dgm:pt modelId="{9276651D-6194-EA49-8E09-02C1BFFFA9D5}" type="pres">
      <dgm:prSet presAssocID="{338A4ADE-7A0B-DA46-A749-6378547614AE}" presName="rootText" presStyleLbl="node3" presStyleIdx="5" presStyleCnt="18" custScaleY="163289">
        <dgm:presLayoutVars>
          <dgm:chPref val="3"/>
        </dgm:presLayoutVars>
      </dgm:prSet>
      <dgm:spPr>
        <a:prstGeom prst="roundRect">
          <a:avLst/>
        </a:prstGeom>
      </dgm:spPr>
      <dgm:t>
        <a:bodyPr/>
        <a:lstStyle/>
        <a:p>
          <a:endParaRPr lang="en-US"/>
        </a:p>
      </dgm:t>
    </dgm:pt>
    <dgm:pt modelId="{CD5ED238-8A46-9548-AD80-16CB05272A14}" type="pres">
      <dgm:prSet presAssocID="{338A4ADE-7A0B-DA46-A749-6378547614AE}" presName="rootConnector" presStyleLbl="node3" presStyleIdx="5" presStyleCnt="18"/>
      <dgm:spPr/>
      <dgm:t>
        <a:bodyPr/>
        <a:lstStyle/>
        <a:p>
          <a:endParaRPr lang="en-US"/>
        </a:p>
      </dgm:t>
    </dgm:pt>
    <dgm:pt modelId="{BDC06036-AFEF-8F4C-A1E3-0138032EDE75}" type="pres">
      <dgm:prSet presAssocID="{338A4ADE-7A0B-DA46-A749-6378547614AE}" presName="hierChild4" presStyleCnt="0"/>
      <dgm:spPr/>
    </dgm:pt>
    <dgm:pt modelId="{F44A321D-F93F-1847-9AAA-56093CB8396B}" type="pres">
      <dgm:prSet presAssocID="{338A4ADE-7A0B-DA46-A749-6378547614AE}" presName="hierChild5" presStyleCnt="0"/>
      <dgm:spPr/>
    </dgm:pt>
    <dgm:pt modelId="{E7AD0A5D-E521-4D48-A5EC-9A4A203AF9D4}" type="pres">
      <dgm:prSet presAssocID="{C70D9AAD-288E-0B4A-A4D2-9169EEB4C5EF}" presName="hierChild5" presStyleCnt="0"/>
      <dgm:spPr/>
    </dgm:pt>
    <dgm:pt modelId="{910491EA-604E-6842-9866-DF2E9CD33930}" type="pres">
      <dgm:prSet presAssocID="{F35DDD95-A0E8-D04C-90F4-7D2AE6A0AF8D}" presName="Name37" presStyleLbl="parChTrans1D2" presStyleIdx="2" presStyleCnt="6" custSzY="569430"/>
      <dgm:spPr/>
      <dgm:t>
        <a:bodyPr/>
        <a:lstStyle/>
        <a:p>
          <a:endParaRPr lang="en-US"/>
        </a:p>
      </dgm:t>
    </dgm:pt>
    <dgm:pt modelId="{4F6E76D3-53FC-9B40-84F9-F7C25AED53E4}" type="pres">
      <dgm:prSet presAssocID="{5B4F3E0D-971E-3647-86E4-6868F203DC2B}" presName="hierRoot2" presStyleCnt="0">
        <dgm:presLayoutVars>
          <dgm:hierBranch val="init"/>
        </dgm:presLayoutVars>
      </dgm:prSet>
      <dgm:spPr/>
    </dgm:pt>
    <dgm:pt modelId="{71838188-1DD8-7345-B5E8-F0FD31F9988C}" type="pres">
      <dgm:prSet presAssocID="{5B4F3E0D-971E-3647-86E4-6868F203DC2B}" presName="rootComposite" presStyleCnt="0"/>
      <dgm:spPr/>
    </dgm:pt>
    <dgm:pt modelId="{C98D4C05-6DFD-F848-8831-CA53C562EFA9}" type="pres">
      <dgm:prSet presAssocID="{5B4F3E0D-971E-3647-86E4-6868F203DC2B}" presName="rootText" presStyleLbl="node2" presStyleIdx="2" presStyleCnt="6" custScaleX="122545" custScaleY="163289">
        <dgm:presLayoutVars>
          <dgm:chPref val="3"/>
        </dgm:presLayoutVars>
      </dgm:prSet>
      <dgm:spPr>
        <a:prstGeom prst="roundRect">
          <a:avLst/>
        </a:prstGeom>
      </dgm:spPr>
      <dgm:t>
        <a:bodyPr/>
        <a:lstStyle/>
        <a:p>
          <a:endParaRPr lang="en-US"/>
        </a:p>
      </dgm:t>
    </dgm:pt>
    <dgm:pt modelId="{8249A152-56BE-E046-8A45-0C56C7C1D191}" type="pres">
      <dgm:prSet presAssocID="{5B4F3E0D-971E-3647-86E4-6868F203DC2B}" presName="rootConnector" presStyleLbl="node2" presStyleIdx="2" presStyleCnt="6"/>
      <dgm:spPr/>
      <dgm:t>
        <a:bodyPr/>
        <a:lstStyle/>
        <a:p>
          <a:endParaRPr lang="en-US"/>
        </a:p>
      </dgm:t>
    </dgm:pt>
    <dgm:pt modelId="{936D50A9-CCB4-4945-945B-85E46E6A9010}" type="pres">
      <dgm:prSet presAssocID="{5B4F3E0D-971E-3647-86E4-6868F203DC2B}" presName="hierChild4" presStyleCnt="0"/>
      <dgm:spPr/>
    </dgm:pt>
    <dgm:pt modelId="{D62CB30F-6901-594F-8775-B46F34227BC9}" type="pres">
      <dgm:prSet presAssocID="{7FF81494-F22E-3B4A-AE0B-9C51C4A0F12C}" presName="Name37" presStyleLbl="parChTrans1D3" presStyleIdx="6" presStyleCnt="18" custSzY="1501939"/>
      <dgm:spPr/>
      <dgm:t>
        <a:bodyPr/>
        <a:lstStyle/>
        <a:p>
          <a:endParaRPr lang="en-US"/>
        </a:p>
      </dgm:t>
    </dgm:pt>
    <dgm:pt modelId="{2A1E62F8-D51C-B44A-BD70-E6C65A68DCCB}" type="pres">
      <dgm:prSet presAssocID="{1A5ABF02-3DC0-3F46-89A6-D4A83DB904D1}" presName="hierRoot2" presStyleCnt="0">
        <dgm:presLayoutVars>
          <dgm:hierBranch val="init"/>
        </dgm:presLayoutVars>
      </dgm:prSet>
      <dgm:spPr/>
    </dgm:pt>
    <dgm:pt modelId="{F9703759-1D98-084A-B066-79D5FA0B0817}" type="pres">
      <dgm:prSet presAssocID="{1A5ABF02-3DC0-3F46-89A6-D4A83DB904D1}" presName="rootComposite" presStyleCnt="0"/>
      <dgm:spPr/>
    </dgm:pt>
    <dgm:pt modelId="{7AAAE15D-9C55-1D43-B8B7-B04F0D48EABD}" type="pres">
      <dgm:prSet presAssocID="{1A5ABF02-3DC0-3F46-89A6-D4A83DB904D1}" presName="rootText" presStyleLbl="node3" presStyleIdx="6" presStyleCnt="18" custScaleY="163289">
        <dgm:presLayoutVars>
          <dgm:chPref val="3"/>
        </dgm:presLayoutVars>
      </dgm:prSet>
      <dgm:spPr>
        <a:prstGeom prst="roundRect">
          <a:avLst/>
        </a:prstGeom>
      </dgm:spPr>
      <dgm:t>
        <a:bodyPr/>
        <a:lstStyle/>
        <a:p>
          <a:endParaRPr lang="en-US"/>
        </a:p>
      </dgm:t>
    </dgm:pt>
    <dgm:pt modelId="{C8CB1346-EB34-094E-8B3A-28042614FB03}" type="pres">
      <dgm:prSet presAssocID="{1A5ABF02-3DC0-3F46-89A6-D4A83DB904D1}" presName="rootConnector" presStyleLbl="node3" presStyleIdx="6" presStyleCnt="18"/>
      <dgm:spPr/>
      <dgm:t>
        <a:bodyPr/>
        <a:lstStyle/>
        <a:p>
          <a:endParaRPr lang="en-US"/>
        </a:p>
      </dgm:t>
    </dgm:pt>
    <dgm:pt modelId="{C07159A7-2612-CB43-B1EE-FC2609E7E9AD}" type="pres">
      <dgm:prSet presAssocID="{1A5ABF02-3DC0-3F46-89A6-D4A83DB904D1}" presName="hierChild4" presStyleCnt="0"/>
      <dgm:spPr/>
    </dgm:pt>
    <dgm:pt modelId="{B9C12C8A-E3B4-7940-B9D7-DB49D619BCB5}" type="pres">
      <dgm:prSet presAssocID="{1A5ABF02-3DC0-3F46-89A6-D4A83DB904D1}" presName="hierChild5" presStyleCnt="0"/>
      <dgm:spPr/>
    </dgm:pt>
    <dgm:pt modelId="{129F0079-A483-7E48-A321-97C36DBA0475}" type="pres">
      <dgm:prSet presAssocID="{76C0524B-EDDB-FA4A-A6A1-2FDCA1EEFA25}" presName="Name37" presStyleLbl="parChTrans1D3" presStyleIdx="7" presStyleCnt="18" custSzY="3936388"/>
      <dgm:spPr/>
      <dgm:t>
        <a:bodyPr/>
        <a:lstStyle/>
        <a:p>
          <a:endParaRPr lang="en-US"/>
        </a:p>
      </dgm:t>
    </dgm:pt>
    <dgm:pt modelId="{505AFEB6-44FD-0948-86B1-1EBBFB7AD6E8}" type="pres">
      <dgm:prSet presAssocID="{11B5AD18-48FD-6A4B-A82C-B8D0882BDFD5}" presName="hierRoot2" presStyleCnt="0">
        <dgm:presLayoutVars>
          <dgm:hierBranch val="init"/>
        </dgm:presLayoutVars>
      </dgm:prSet>
      <dgm:spPr/>
    </dgm:pt>
    <dgm:pt modelId="{898B3C27-79E5-B94F-AB28-34998FE8B917}" type="pres">
      <dgm:prSet presAssocID="{11B5AD18-48FD-6A4B-A82C-B8D0882BDFD5}" presName="rootComposite" presStyleCnt="0"/>
      <dgm:spPr/>
    </dgm:pt>
    <dgm:pt modelId="{7C50BECD-9391-C544-9079-7DCA06B1B106}" type="pres">
      <dgm:prSet presAssocID="{11B5AD18-48FD-6A4B-A82C-B8D0882BDFD5}" presName="rootText" presStyleLbl="node3" presStyleIdx="7" presStyleCnt="18" custScaleY="163289">
        <dgm:presLayoutVars>
          <dgm:chPref val="3"/>
        </dgm:presLayoutVars>
      </dgm:prSet>
      <dgm:spPr>
        <a:prstGeom prst="roundRect">
          <a:avLst/>
        </a:prstGeom>
      </dgm:spPr>
      <dgm:t>
        <a:bodyPr/>
        <a:lstStyle/>
        <a:p>
          <a:endParaRPr lang="en-US"/>
        </a:p>
      </dgm:t>
    </dgm:pt>
    <dgm:pt modelId="{35D57237-8BFB-E945-A7A7-3C3A20E1DD9C}" type="pres">
      <dgm:prSet presAssocID="{11B5AD18-48FD-6A4B-A82C-B8D0882BDFD5}" presName="rootConnector" presStyleLbl="node3" presStyleIdx="7" presStyleCnt="18"/>
      <dgm:spPr/>
      <dgm:t>
        <a:bodyPr/>
        <a:lstStyle/>
        <a:p>
          <a:endParaRPr lang="en-US"/>
        </a:p>
      </dgm:t>
    </dgm:pt>
    <dgm:pt modelId="{9742A4E0-8FBD-7543-97A8-E98A936FD000}" type="pres">
      <dgm:prSet presAssocID="{11B5AD18-48FD-6A4B-A82C-B8D0882BDFD5}" presName="hierChild4" presStyleCnt="0"/>
      <dgm:spPr/>
    </dgm:pt>
    <dgm:pt modelId="{7BE38307-1708-2D4C-8A04-E67A64FA40B2}" type="pres">
      <dgm:prSet presAssocID="{11B5AD18-48FD-6A4B-A82C-B8D0882BDFD5}" presName="hierChild5" presStyleCnt="0"/>
      <dgm:spPr/>
    </dgm:pt>
    <dgm:pt modelId="{5030E2EE-B0D1-364F-B6DF-876E246B6AE1}" type="pres">
      <dgm:prSet presAssocID="{EFC072AF-A0F9-2340-A2B6-3F5834C6C0F3}" presName="Name37" presStyleLbl="parChTrans1D3" presStyleIdx="8" presStyleCnt="18" custSzY="6370837"/>
      <dgm:spPr/>
      <dgm:t>
        <a:bodyPr/>
        <a:lstStyle/>
        <a:p>
          <a:endParaRPr lang="en-US"/>
        </a:p>
      </dgm:t>
    </dgm:pt>
    <dgm:pt modelId="{3BF92A3B-B68B-8F4A-ACDB-61F48235A59F}" type="pres">
      <dgm:prSet presAssocID="{1DF3C01B-2614-5C42-80DD-7422BFA9073B}" presName="hierRoot2" presStyleCnt="0">
        <dgm:presLayoutVars>
          <dgm:hierBranch val="init"/>
        </dgm:presLayoutVars>
      </dgm:prSet>
      <dgm:spPr/>
    </dgm:pt>
    <dgm:pt modelId="{B998F742-4147-FB46-B213-304B069DACB0}" type="pres">
      <dgm:prSet presAssocID="{1DF3C01B-2614-5C42-80DD-7422BFA9073B}" presName="rootComposite" presStyleCnt="0"/>
      <dgm:spPr/>
    </dgm:pt>
    <dgm:pt modelId="{C8DB6E88-65AB-3947-BF5E-D30F973C203C}" type="pres">
      <dgm:prSet presAssocID="{1DF3C01B-2614-5C42-80DD-7422BFA9073B}" presName="rootText" presStyleLbl="node3" presStyleIdx="8" presStyleCnt="18" custScaleY="163289">
        <dgm:presLayoutVars>
          <dgm:chPref val="3"/>
        </dgm:presLayoutVars>
      </dgm:prSet>
      <dgm:spPr>
        <a:prstGeom prst="roundRect">
          <a:avLst/>
        </a:prstGeom>
      </dgm:spPr>
      <dgm:t>
        <a:bodyPr/>
        <a:lstStyle/>
        <a:p>
          <a:endParaRPr lang="en-US"/>
        </a:p>
      </dgm:t>
    </dgm:pt>
    <dgm:pt modelId="{62108426-B799-194D-AB78-22283909E5A2}" type="pres">
      <dgm:prSet presAssocID="{1DF3C01B-2614-5C42-80DD-7422BFA9073B}" presName="rootConnector" presStyleLbl="node3" presStyleIdx="8" presStyleCnt="18"/>
      <dgm:spPr/>
      <dgm:t>
        <a:bodyPr/>
        <a:lstStyle/>
        <a:p>
          <a:endParaRPr lang="en-US"/>
        </a:p>
      </dgm:t>
    </dgm:pt>
    <dgm:pt modelId="{60AB16CA-A0FA-E548-A598-8F4F677A192B}" type="pres">
      <dgm:prSet presAssocID="{1DF3C01B-2614-5C42-80DD-7422BFA9073B}" presName="hierChild4" presStyleCnt="0"/>
      <dgm:spPr/>
    </dgm:pt>
    <dgm:pt modelId="{360B2E77-F622-5945-8392-2B887285C669}" type="pres">
      <dgm:prSet presAssocID="{1DF3C01B-2614-5C42-80DD-7422BFA9073B}" presName="hierChild5" presStyleCnt="0"/>
      <dgm:spPr/>
    </dgm:pt>
    <dgm:pt modelId="{0E88A329-C564-C840-B127-2181CD7549E6}" type="pres">
      <dgm:prSet presAssocID="{5B4F3E0D-971E-3647-86E4-6868F203DC2B}" presName="hierChild5" presStyleCnt="0"/>
      <dgm:spPr/>
    </dgm:pt>
    <dgm:pt modelId="{323D0151-0AF0-7A44-BCE6-C10462839127}" type="pres">
      <dgm:prSet presAssocID="{4BB222BF-BE28-4C47-9A72-39286C322445}" presName="Name37" presStyleLbl="parChTrans1D2" presStyleIdx="3" presStyleCnt="6" custSzY="569430"/>
      <dgm:spPr/>
      <dgm:t>
        <a:bodyPr/>
        <a:lstStyle/>
        <a:p>
          <a:endParaRPr lang="en-US"/>
        </a:p>
      </dgm:t>
    </dgm:pt>
    <dgm:pt modelId="{C0502B14-1B52-7042-ACC0-DA1514170E49}" type="pres">
      <dgm:prSet presAssocID="{49CB4C51-4B03-F94A-A9CC-2536C8F9270F}" presName="hierRoot2" presStyleCnt="0">
        <dgm:presLayoutVars>
          <dgm:hierBranch val="init"/>
        </dgm:presLayoutVars>
      </dgm:prSet>
      <dgm:spPr/>
    </dgm:pt>
    <dgm:pt modelId="{124E14D1-547A-F840-A53B-8C32D7C0E093}" type="pres">
      <dgm:prSet presAssocID="{49CB4C51-4B03-F94A-A9CC-2536C8F9270F}" presName="rootComposite" presStyleCnt="0"/>
      <dgm:spPr/>
    </dgm:pt>
    <dgm:pt modelId="{F63DB975-E825-ED40-9ED5-8EF8047133DC}" type="pres">
      <dgm:prSet presAssocID="{49CB4C51-4B03-F94A-A9CC-2536C8F9270F}" presName="rootText" presStyleLbl="node2" presStyleIdx="3" presStyleCnt="6" custScaleX="122545" custScaleY="163289">
        <dgm:presLayoutVars>
          <dgm:chPref val="3"/>
        </dgm:presLayoutVars>
      </dgm:prSet>
      <dgm:spPr>
        <a:prstGeom prst="roundRect">
          <a:avLst/>
        </a:prstGeom>
      </dgm:spPr>
      <dgm:t>
        <a:bodyPr/>
        <a:lstStyle/>
        <a:p>
          <a:endParaRPr lang="en-US"/>
        </a:p>
      </dgm:t>
    </dgm:pt>
    <dgm:pt modelId="{448BE257-6BD3-154B-8455-7442213A9C1F}" type="pres">
      <dgm:prSet presAssocID="{49CB4C51-4B03-F94A-A9CC-2536C8F9270F}" presName="rootConnector" presStyleLbl="node2" presStyleIdx="3" presStyleCnt="6"/>
      <dgm:spPr/>
      <dgm:t>
        <a:bodyPr/>
        <a:lstStyle/>
        <a:p>
          <a:endParaRPr lang="en-US"/>
        </a:p>
      </dgm:t>
    </dgm:pt>
    <dgm:pt modelId="{068F8C37-46EE-4847-A292-C25509F10E4F}" type="pres">
      <dgm:prSet presAssocID="{49CB4C51-4B03-F94A-A9CC-2536C8F9270F}" presName="hierChild4" presStyleCnt="0"/>
      <dgm:spPr/>
    </dgm:pt>
    <dgm:pt modelId="{7B5B0F12-5DDA-9943-9092-2A10F2FE9601}" type="pres">
      <dgm:prSet presAssocID="{964A5E62-97E7-C048-9268-0DD949F4134F}" presName="Name37" presStyleLbl="parChTrans1D3" presStyleIdx="9" presStyleCnt="18" custSzY="1501939"/>
      <dgm:spPr/>
      <dgm:t>
        <a:bodyPr/>
        <a:lstStyle/>
        <a:p>
          <a:endParaRPr lang="en-US"/>
        </a:p>
      </dgm:t>
    </dgm:pt>
    <dgm:pt modelId="{416A776B-95CC-6242-82B8-F3477537D01B}" type="pres">
      <dgm:prSet presAssocID="{14A9B10A-492B-F046-AA45-A18CECB57509}" presName="hierRoot2" presStyleCnt="0">
        <dgm:presLayoutVars>
          <dgm:hierBranch val="init"/>
        </dgm:presLayoutVars>
      </dgm:prSet>
      <dgm:spPr/>
    </dgm:pt>
    <dgm:pt modelId="{B3872BE2-32B6-FA4E-AD30-FDDA357E030B}" type="pres">
      <dgm:prSet presAssocID="{14A9B10A-492B-F046-AA45-A18CECB57509}" presName="rootComposite" presStyleCnt="0"/>
      <dgm:spPr/>
    </dgm:pt>
    <dgm:pt modelId="{BD45870A-B3FE-4649-A1E8-44ABA898ACEB}" type="pres">
      <dgm:prSet presAssocID="{14A9B10A-492B-F046-AA45-A18CECB57509}" presName="rootText" presStyleLbl="node3" presStyleIdx="9" presStyleCnt="18" custScaleY="163289">
        <dgm:presLayoutVars>
          <dgm:chPref val="3"/>
        </dgm:presLayoutVars>
      </dgm:prSet>
      <dgm:spPr>
        <a:prstGeom prst="roundRect">
          <a:avLst/>
        </a:prstGeom>
      </dgm:spPr>
      <dgm:t>
        <a:bodyPr/>
        <a:lstStyle/>
        <a:p>
          <a:endParaRPr lang="en-US"/>
        </a:p>
      </dgm:t>
    </dgm:pt>
    <dgm:pt modelId="{6D27B739-9A5A-FE45-BC1E-B91110B18E69}" type="pres">
      <dgm:prSet presAssocID="{14A9B10A-492B-F046-AA45-A18CECB57509}" presName="rootConnector" presStyleLbl="node3" presStyleIdx="9" presStyleCnt="18"/>
      <dgm:spPr/>
      <dgm:t>
        <a:bodyPr/>
        <a:lstStyle/>
        <a:p>
          <a:endParaRPr lang="en-US"/>
        </a:p>
      </dgm:t>
    </dgm:pt>
    <dgm:pt modelId="{E0AA5810-09FE-6F49-9E01-C37893D5B99E}" type="pres">
      <dgm:prSet presAssocID="{14A9B10A-492B-F046-AA45-A18CECB57509}" presName="hierChild4" presStyleCnt="0"/>
      <dgm:spPr/>
    </dgm:pt>
    <dgm:pt modelId="{67B38412-62E0-F041-A9A6-EEB827EE7287}" type="pres">
      <dgm:prSet presAssocID="{14A9B10A-492B-F046-AA45-A18CECB57509}" presName="hierChild5" presStyleCnt="0"/>
      <dgm:spPr/>
    </dgm:pt>
    <dgm:pt modelId="{4C9BEE53-E580-D245-BCCD-590C85D76065}" type="pres">
      <dgm:prSet presAssocID="{7D0C8FC0-2822-5146-86DC-E862D57D28F7}" presName="Name37" presStyleLbl="parChTrans1D3" presStyleIdx="10" presStyleCnt="18" custSzY="3936388"/>
      <dgm:spPr/>
      <dgm:t>
        <a:bodyPr/>
        <a:lstStyle/>
        <a:p>
          <a:endParaRPr lang="en-US"/>
        </a:p>
      </dgm:t>
    </dgm:pt>
    <dgm:pt modelId="{084F8B06-8855-B74B-A705-6E163C44E754}" type="pres">
      <dgm:prSet presAssocID="{D388754C-8CDF-944F-81D9-734A1D624DE5}" presName="hierRoot2" presStyleCnt="0">
        <dgm:presLayoutVars>
          <dgm:hierBranch val="init"/>
        </dgm:presLayoutVars>
      </dgm:prSet>
      <dgm:spPr/>
    </dgm:pt>
    <dgm:pt modelId="{9EA94B24-EF62-6646-8B44-17764E9A462E}" type="pres">
      <dgm:prSet presAssocID="{D388754C-8CDF-944F-81D9-734A1D624DE5}" presName="rootComposite" presStyleCnt="0"/>
      <dgm:spPr/>
    </dgm:pt>
    <dgm:pt modelId="{667C8B84-66F0-D04D-AF88-0F329C747158}" type="pres">
      <dgm:prSet presAssocID="{D388754C-8CDF-944F-81D9-734A1D624DE5}" presName="rootText" presStyleLbl="node3" presStyleIdx="10" presStyleCnt="18" custScaleY="163289">
        <dgm:presLayoutVars>
          <dgm:chPref val="3"/>
        </dgm:presLayoutVars>
      </dgm:prSet>
      <dgm:spPr>
        <a:prstGeom prst="roundRect">
          <a:avLst/>
        </a:prstGeom>
      </dgm:spPr>
      <dgm:t>
        <a:bodyPr/>
        <a:lstStyle/>
        <a:p>
          <a:endParaRPr lang="en-US"/>
        </a:p>
      </dgm:t>
    </dgm:pt>
    <dgm:pt modelId="{C032D471-E31D-BF47-90BC-0B75D3183438}" type="pres">
      <dgm:prSet presAssocID="{D388754C-8CDF-944F-81D9-734A1D624DE5}" presName="rootConnector" presStyleLbl="node3" presStyleIdx="10" presStyleCnt="18"/>
      <dgm:spPr/>
      <dgm:t>
        <a:bodyPr/>
        <a:lstStyle/>
        <a:p>
          <a:endParaRPr lang="en-US"/>
        </a:p>
      </dgm:t>
    </dgm:pt>
    <dgm:pt modelId="{50D7A7D7-B247-0241-B930-203B902594B5}" type="pres">
      <dgm:prSet presAssocID="{D388754C-8CDF-944F-81D9-734A1D624DE5}" presName="hierChild4" presStyleCnt="0"/>
      <dgm:spPr/>
    </dgm:pt>
    <dgm:pt modelId="{6067EBE2-5843-6D4C-941B-5FB3692E75F9}" type="pres">
      <dgm:prSet presAssocID="{D388754C-8CDF-944F-81D9-734A1D624DE5}" presName="hierChild5" presStyleCnt="0"/>
      <dgm:spPr/>
    </dgm:pt>
    <dgm:pt modelId="{EBF62F60-4DCC-6C46-AE65-EDFFE870F1F4}" type="pres">
      <dgm:prSet presAssocID="{BEEC9641-8114-8F4D-8D80-33DB53450849}" presName="Name37" presStyleLbl="parChTrans1D3" presStyleIdx="11" presStyleCnt="18" custSzY="6370837"/>
      <dgm:spPr/>
      <dgm:t>
        <a:bodyPr/>
        <a:lstStyle/>
        <a:p>
          <a:endParaRPr lang="en-US"/>
        </a:p>
      </dgm:t>
    </dgm:pt>
    <dgm:pt modelId="{93533B26-364F-014E-A891-6D8442BBCE18}" type="pres">
      <dgm:prSet presAssocID="{5959550F-67B9-B04E-91C4-902A91EFE7E5}" presName="hierRoot2" presStyleCnt="0">
        <dgm:presLayoutVars>
          <dgm:hierBranch val="init"/>
        </dgm:presLayoutVars>
      </dgm:prSet>
      <dgm:spPr/>
    </dgm:pt>
    <dgm:pt modelId="{DB4AF111-B912-8448-ABAC-05FC566DF87E}" type="pres">
      <dgm:prSet presAssocID="{5959550F-67B9-B04E-91C4-902A91EFE7E5}" presName="rootComposite" presStyleCnt="0"/>
      <dgm:spPr/>
    </dgm:pt>
    <dgm:pt modelId="{0B86221D-B7E4-B74C-ACB9-8C43A9AE47F7}" type="pres">
      <dgm:prSet presAssocID="{5959550F-67B9-B04E-91C4-902A91EFE7E5}" presName="rootText" presStyleLbl="node3" presStyleIdx="11" presStyleCnt="18" custScaleY="163289">
        <dgm:presLayoutVars>
          <dgm:chPref val="3"/>
        </dgm:presLayoutVars>
      </dgm:prSet>
      <dgm:spPr>
        <a:prstGeom prst="roundRect">
          <a:avLst/>
        </a:prstGeom>
      </dgm:spPr>
      <dgm:t>
        <a:bodyPr/>
        <a:lstStyle/>
        <a:p>
          <a:endParaRPr lang="en-US"/>
        </a:p>
      </dgm:t>
    </dgm:pt>
    <dgm:pt modelId="{B9CC71A5-3834-534E-9ECE-601DD70734B2}" type="pres">
      <dgm:prSet presAssocID="{5959550F-67B9-B04E-91C4-902A91EFE7E5}" presName="rootConnector" presStyleLbl="node3" presStyleIdx="11" presStyleCnt="18"/>
      <dgm:spPr/>
      <dgm:t>
        <a:bodyPr/>
        <a:lstStyle/>
        <a:p>
          <a:endParaRPr lang="en-US"/>
        </a:p>
      </dgm:t>
    </dgm:pt>
    <dgm:pt modelId="{22A0A11E-34BD-0442-BCA0-44161B492947}" type="pres">
      <dgm:prSet presAssocID="{5959550F-67B9-B04E-91C4-902A91EFE7E5}" presName="hierChild4" presStyleCnt="0"/>
      <dgm:spPr/>
    </dgm:pt>
    <dgm:pt modelId="{A1799FD4-5B2F-1C41-B7C0-8BBFCD6F98DD}" type="pres">
      <dgm:prSet presAssocID="{5959550F-67B9-B04E-91C4-902A91EFE7E5}" presName="hierChild5" presStyleCnt="0"/>
      <dgm:spPr/>
    </dgm:pt>
    <dgm:pt modelId="{9E34D8F1-0307-C841-BE9B-4EB460341C22}" type="pres">
      <dgm:prSet presAssocID="{49CB4C51-4B03-F94A-A9CC-2536C8F9270F}" presName="hierChild5" presStyleCnt="0"/>
      <dgm:spPr/>
    </dgm:pt>
    <dgm:pt modelId="{1480E8B4-F1B6-8246-9806-7D2D0CB68815}" type="pres">
      <dgm:prSet presAssocID="{F409B74A-4849-4F40-B00A-E62D8179565D}" presName="Name37" presStyleLbl="parChTrans1D2" presStyleIdx="4" presStyleCnt="6" custSzY="569430"/>
      <dgm:spPr/>
      <dgm:t>
        <a:bodyPr/>
        <a:lstStyle/>
        <a:p>
          <a:endParaRPr lang="en-US"/>
        </a:p>
      </dgm:t>
    </dgm:pt>
    <dgm:pt modelId="{38784AEE-09B7-0C47-8227-D02D0F1EDC40}" type="pres">
      <dgm:prSet presAssocID="{67FD2AD4-7083-B34B-8AB9-E13081EF86F9}" presName="hierRoot2" presStyleCnt="0">
        <dgm:presLayoutVars>
          <dgm:hierBranch val="init"/>
        </dgm:presLayoutVars>
      </dgm:prSet>
      <dgm:spPr/>
    </dgm:pt>
    <dgm:pt modelId="{1B5211C4-1365-1640-A178-1D467A02D08A}" type="pres">
      <dgm:prSet presAssocID="{67FD2AD4-7083-B34B-8AB9-E13081EF86F9}" presName="rootComposite" presStyleCnt="0"/>
      <dgm:spPr/>
    </dgm:pt>
    <dgm:pt modelId="{572E3CDC-5D66-514E-8912-D04551846EC7}" type="pres">
      <dgm:prSet presAssocID="{67FD2AD4-7083-B34B-8AB9-E13081EF86F9}" presName="rootText" presStyleLbl="node2" presStyleIdx="4" presStyleCnt="6" custScaleX="122545" custScaleY="163289">
        <dgm:presLayoutVars>
          <dgm:chPref val="3"/>
        </dgm:presLayoutVars>
      </dgm:prSet>
      <dgm:spPr>
        <a:prstGeom prst="roundRect">
          <a:avLst/>
        </a:prstGeom>
      </dgm:spPr>
      <dgm:t>
        <a:bodyPr/>
        <a:lstStyle/>
        <a:p>
          <a:endParaRPr lang="en-US"/>
        </a:p>
      </dgm:t>
    </dgm:pt>
    <dgm:pt modelId="{64829248-69CA-0B4E-875C-600221CC892E}" type="pres">
      <dgm:prSet presAssocID="{67FD2AD4-7083-B34B-8AB9-E13081EF86F9}" presName="rootConnector" presStyleLbl="node2" presStyleIdx="4" presStyleCnt="6"/>
      <dgm:spPr/>
      <dgm:t>
        <a:bodyPr/>
        <a:lstStyle/>
        <a:p>
          <a:endParaRPr lang="en-US"/>
        </a:p>
      </dgm:t>
    </dgm:pt>
    <dgm:pt modelId="{EB7C6A82-1BAB-C84F-ABFF-4175D1E01329}" type="pres">
      <dgm:prSet presAssocID="{67FD2AD4-7083-B34B-8AB9-E13081EF86F9}" presName="hierChild4" presStyleCnt="0"/>
      <dgm:spPr/>
    </dgm:pt>
    <dgm:pt modelId="{44F6E45F-C07E-304C-AB67-8E8552A42778}" type="pres">
      <dgm:prSet presAssocID="{D5307D3E-A636-324D-8C3A-9829230BB487}" presName="Name37" presStyleLbl="parChTrans1D3" presStyleIdx="12" presStyleCnt="18" custSzY="1501939"/>
      <dgm:spPr/>
      <dgm:t>
        <a:bodyPr/>
        <a:lstStyle/>
        <a:p>
          <a:endParaRPr lang="en-US"/>
        </a:p>
      </dgm:t>
    </dgm:pt>
    <dgm:pt modelId="{2208A308-1D10-494E-B09E-F544AF8068C3}" type="pres">
      <dgm:prSet presAssocID="{480C2FAB-0A28-DC43-92DE-A584FB0DAE31}" presName="hierRoot2" presStyleCnt="0">
        <dgm:presLayoutVars>
          <dgm:hierBranch val="init"/>
        </dgm:presLayoutVars>
      </dgm:prSet>
      <dgm:spPr/>
    </dgm:pt>
    <dgm:pt modelId="{52F1A2B4-5B26-7844-A417-F9A302DD4377}" type="pres">
      <dgm:prSet presAssocID="{480C2FAB-0A28-DC43-92DE-A584FB0DAE31}" presName="rootComposite" presStyleCnt="0"/>
      <dgm:spPr/>
    </dgm:pt>
    <dgm:pt modelId="{312925C6-1321-8C4D-8ECE-565EBD85AA53}" type="pres">
      <dgm:prSet presAssocID="{480C2FAB-0A28-DC43-92DE-A584FB0DAE31}" presName="rootText" presStyleLbl="node3" presStyleIdx="12" presStyleCnt="18" custScaleY="163289">
        <dgm:presLayoutVars>
          <dgm:chPref val="3"/>
        </dgm:presLayoutVars>
      </dgm:prSet>
      <dgm:spPr>
        <a:prstGeom prst="roundRect">
          <a:avLst/>
        </a:prstGeom>
      </dgm:spPr>
      <dgm:t>
        <a:bodyPr/>
        <a:lstStyle/>
        <a:p>
          <a:endParaRPr lang="en-US"/>
        </a:p>
      </dgm:t>
    </dgm:pt>
    <dgm:pt modelId="{51242648-056D-864F-A823-CF2B10E36DC5}" type="pres">
      <dgm:prSet presAssocID="{480C2FAB-0A28-DC43-92DE-A584FB0DAE31}" presName="rootConnector" presStyleLbl="node3" presStyleIdx="12" presStyleCnt="18"/>
      <dgm:spPr/>
      <dgm:t>
        <a:bodyPr/>
        <a:lstStyle/>
        <a:p>
          <a:endParaRPr lang="en-US"/>
        </a:p>
      </dgm:t>
    </dgm:pt>
    <dgm:pt modelId="{101F8E47-0BE7-944C-B421-13AA797AD0FE}" type="pres">
      <dgm:prSet presAssocID="{480C2FAB-0A28-DC43-92DE-A584FB0DAE31}" presName="hierChild4" presStyleCnt="0"/>
      <dgm:spPr/>
    </dgm:pt>
    <dgm:pt modelId="{63EE6A4D-0BB5-9F46-BC36-0F3CE16A1208}" type="pres">
      <dgm:prSet presAssocID="{480C2FAB-0A28-DC43-92DE-A584FB0DAE31}" presName="hierChild5" presStyleCnt="0"/>
      <dgm:spPr/>
    </dgm:pt>
    <dgm:pt modelId="{6440B106-7C72-9547-AE5A-A590A6A7292B}" type="pres">
      <dgm:prSet presAssocID="{411D2A1A-9B4A-674A-B93D-2C923CBCDFDB}" presName="Name37" presStyleLbl="parChTrans1D3" presStyleIdx="13" presStyleCnt="18" custSzY="3936388"/>
      <dgm:spPr/>
      <dgm:t>
        <a:bodyPr/>
        <a:lstStyle/>
        <a:p>
          <a:endParaRPr lang="en-US"/>
        </a:p>
      </dgm:t>
    </dgm:pt>
    <dgm:pt modelId="{BAC73BF8-8458-2342-9ECA-03ADDC1723E5}" type="pres">
      <dgm:prSet presAssocID="{73C75B63-3273-2346-8A61-65D3F5E8CBC0}" presName="hierRoot2" presStyleCnt="0">
        <dgm:presLayoutVars>
          <dgm:hierBranch val="init"/>
        </dgm:presLayoutVars>
      </dgm:prSet>
      <dgm:spPr/>
    </dgm:pt>
    <dgm:pt modelId="{0C073428-45A6-A444-B614-5DE374C411EB}" type="pres">
      <dgm:prSet presAssocID="{73C75B63-3273-2346-8A61-65D3F5E8CBC0}" presName="rootComposite" presStyleCnt="0"/>
      <dgm:spPr/>
    </dgm:pt>
    <dgm:pt modelId="{96DE10DD-2A27-1E4E-A6B9-8640BCC5A191}" type="pres">
      <dgm:prSet presAssocID="{73C75B63-3273-2346-8A61-65D3F5E8CBC0}" presName="rootText" presStyleLbl="node3" presStyleIdx="13" presStyleCnt="18" custScaleY="163289">
        <dgm:presLayoutVars>
          <dgm:chPref val="3"/>
        </dgm:presLayoutVars>
      </dgm:prSet>
      <dgm:spPr>
        <a:prstGeom prst="roundRect">
          <a:avLst/>
        </a:prstGeom>
      </dgm:spPr>
      <dgm:t>
        <a:bodyPr/>
        <a:lstStyle/>
        <a:p>
          <a:endParaRPr lang="en-US"/>
        </a:p>
      </dgm:t>
    </dgm:pt>
    <dgm:pt modelId="{8F158EFB-F898-3C42-9661-FD99398859DA}" type="pres">
      <dgm:prSet presAssocID="{73C75B63-3273-2346-8A61-65D3F5E8CBC0}" presName="rootConnector" presStyleLbl="node3" presStyleIdx="13" presStyleCnt="18"/>
      <dgm:spPr/>
      <dgm:t>
        <a:bodyPr/>
        <a:lstStyle/>
        <a:p>
          <a:endParaRPr lang="en-US"/>
        </a:p>
      </dgm:t>
    </dgm:pt>
    <dgm:pt modelId="{115DEFFC-01B6-BC42-A789-F0A80147F2CC}" type="pres">
      <dgm:prSet presAssocID="{73C75B63-3273-2346-8A61-65D3F5E8CBC0}" presName="hierChild4" presStyleCnt="0"/>
      <dgm:spPr/>
    </dgm:pt>
    <dgm:pt modelId="{B17F80B3-A6DC-D645-A595-41D80D4CE969}" type="pres">
      <dgm:prSet presAssocID="{73C75B63-3273-2346-8A61-65D3F5E8CBC0}" presName="hierChild5" presStyleCnt="0"/>
      <dgm:spPr/>
    </dgm:pt>
    <dgm:pt modelId="{65969C0C-C4EF-8044-B112-A2052B5FA261}" type="pres">
      <dgm:prSet presAssocID="{3096FC50-CDEA-CD40-A16C-4FE101488966}" presName="Name37" presStyleLbl="parChTrans1D3" presStyleIdx="14" presStyleCnt="18" custSzY="6370837"/>
      <dgm:spPr/>
      <dgm:t>
        <a:bodyPr/>
        <a:lstStyle/>
        <a:p>
          <a:endParaRPr lang="en-US"/>
        </a:p>
      </dgm:t>
    </dgm:pt>
    <dgm:pt modelId="{15CB5C64-C278-794E-82CF-052985D0BE92}" type="pres">
      <dgm:prSet presAssocID="{A53C0CFE-184A-1146-8FA6-FFD39694D4B0}" presName="hierRoot2" presStyleCnt="0">
        <dgm:presLayoutVars>
          <dgm:hierBranch val="init"/>
        </dgm:presLayoutVars>
      </dgm:prSet>
      <dgm:spPr/>
    </dgm:pt>
    <dgm:pt modelId="{BA365489-556A-C940-A00F-72AECC305955}" type="pres">
      <dgm:prSet presAssocID="{A53C0CFE-184A-1146-8FA6-FFD39694D4B0}" presName="rootComposite" presStyleCnt="0"/>
      <dgm:spPr/>
    </dgm:pt>
    <dgm:pt modelId="{210923D2-AC03-0946-B698-462DDD0B6542}" type="pres">
      <dgm:prSet presAssocID="{A53C0CFE-184A-1146-8FA6-FFD39694D4B0}" presName="rootText" presStyleLbl="node3" presStyleIdx="14" presStyleCnt="18" custScaleY="163289">
        <dgm:presLayoutVars>
          <dgm:chPref val="3"/>
        </dgm:presLayoutVars>
      </dgm:prSet>
      <dgm:spPr>
        <a:prstGeom prst="roundRect">
          <a:avLst/>
        </a:prstGeom>
      </dgm:spPr>
      <dgm:t>
        <a:bodyPr/>
        <a:lstStyle/>
        <a:p>
          <a:endParaRPr lang="en-US"/>
        </a:p>
      </dgm:t>
    </dgm:pt>
    <dgm:pt modelId="{2CA7FC21-BB86-E144-A530-0AA3F7C11ADE}" type="pres">
      <dgm:prSet presAssocID="{A53C0CFE-184A-1146-8FA6-FFD39694D4B0}" presName="rootConnector" presStyleLbl="node3" presStyleIdx="14" presStyleCnt="18"/>
      <dgm:spPr/>
      <dgm:t>
        <a:bodyPr/>
        <a:lstStyle/>
        <a:p>
          <a:endParaRPr lang="en-US"/>
        </a:p>
      </dgm:t>
    </dgm:pt>
    <dgm:pt modelId="{AB10E984-B840-EA4C-B0FD-663FD1FBE1EE}" type="pres">
      <dgm:prSet presAssocID="{A53C0CFE-184A-1146-8FA6-FFD39694D4B0}" presName="hierChild4" presStyleCnt="0"/>
      <dgm:spPr/>
    </dgm:pt>
    <dgm:pt modelId="{A0B7D572-0CBF-904A-8189-72905D552A09}" type="pres">
      <dgm:prSet presAssocID="{A53C0CFE-184A-1146-8FA6-FFD39694D4B0}" presName="hierChild5" presStyleCnt="0"/>
      <dgm:spPr/>
    </dgm:pt>
    <dgm:pt modelId="{0D4ABEBA-7F67-174B-9D14-25EB0F873638}" type="pres">
      <dgm:prSet presAssocID="{67FD2AD4-7083-B34B-8AB9-E13081EF86F9}" presName="hierChild5" presStyleCnt="0"/>
      <dgm:spPr/>
    </dgm:pt>
    <dgm:pt modelId="{FD0BC2B8-08A5-504D-8B97-A8DFE6F2353D}" type="pres">
      <dgm:prSet presAssocID="{E110FCDD-5DD2-7A49-B84B-225145A8853A}" presName="Name37" presStyleLbl="parChTrans1D2" presStyleIdx="5" presStyleCnt="6" custSzY="569430"/>
      <dgm:spPr/>
      <dgm:t>
        <a:bodyPr/>
        <a:lstStyle/>
        <a:p>
          <a:endParaRPr lang="en-US"/>
        </a:p>
      </dgm:t>
    </dgm:pt>
    <dgm:pt modelId="{4D65A84D-8A4B-FF46-8FC4-DF9823B8C901}" type="pres">
      <dgm:prSet presAssocID="{D069104F-4C0B-3147-953F-A5D93E0C8F12}" presName="hierRoot2" presStyleCnt="0">
        <dgm:presLayoutVars>
          <dgm:hierBranch val="init"/>
        </dgm:presLayoutVars>
      </dgm:prSet>
      <dgm:spPr/>
    </dgm:pt>
    <dgm:pt modelId="{03C01BD0-EEC3-1044-9FF9-FA46EBEE4A5A}" type="pres">
      <dgm:prSet presAssocID="{D069104F-4C0B-3147-953F-A5D93E0C8F12}" presName="rootComposite" presStyleCnt="0"/>
      <dgm:spPr/>
    </dgm:pt>
    <dgm:pt modelId="{0FE69002-AB56-3740-A6BE-C29542137A47}" type="pres">
      <dgm:prSet presAssocID="{D069104F-4C0B-3147-953F-A5D93E0C8F12}" presName="rootText" presStyleLbl="node2" presStyleIdx="5" presStyleCnt="6" custScaleX="122545" custScaleY="163289" custLinFactNeighborX="-2625" custLinFactNeighborY="783">
        <dgm:presLayoutVars>
          <dgm:chPref val="3"/>
        </dgm:presLayoutVars>
      </dgm:prSet>
      <dgm:spPr>
        <a:prstGeom prst="roundRect">
          <a:avLst/>
        </a:prstGeom>
      </dgm:spPr>
      <dgm:t>
        <a:bodyPr/>
        <a:lstStyle/>
        <a:p>
          <a:endParaRPr lang="en-US"/>
        </a:p>
      </dgm:t>
    </dgm:pt>
    <dgm:pt modelId="{78596C7B-EEAE-2041-808D-BB85B551442B}" type="pres">
      <dgm:prSet presAssocID="{D069104F-4C0B-3147-953F-A5D93E0C8F12}" presName="rootConnector" presStyleLbl="node2" presStyleIdx="5" presStyleCnt="6"/>
      <dgm:spPr/>
      <dgm:t>
        <a:bodyPr/>
        <a:lstStyle/>
        <a:p>
          <a:endParaRPr lang="en-US"/>
        </a:p>
      </dgm:t>
    </dgm:pt>
    <dgm:pt modelId="{5D17771E-4B1E-524B-BB1A-B729F8A623F9}" type="pres">
      <dgm:prSet presAssocID="{D069104F-4C0B-3147-953F-A5D93E0C8F12}" presName="hierChild4" presStyleCnt="0"/>
      <dgm:spPr/>
    </dgm:pt>
    <dgm:pt modelId="{18EACF5C-66CA-3E4D-8C5C-FF5941FDB285}" type="pres">
      <dgm:prSet presAssocID="{2D781344-65A3-CC42-AE48-89E6ECA195E3}" presName="Name37" presStyleLbl="parChTrans1D3" presStyleIdx="15" presStyleCnt="18" custSzY="1501939"/>
      <dgm:spPr/>
      <dgm:t>
        <a:bodyPr/>
        <a:lstStyle/>
        <a:p>
          <a:endParaRPr lang="en-US"/>
        </a:p>
      </dgm:t>
    </dgm:pt>
    <dgm:pt modelId="{6C7DB993-CCDC-324F-8775-E1F06DD4FFD7}" type="pres">
      <dgm:prSet presAssocID="{C3ACB4D6-7889-774B-A5F7-FFA378C074CF}" presName="hierRoot2" presStyleCnt="0">
        <dgm:presLayoutVars>
          <dgm:hierBranch val="init"/>
        </dgm:presLayoutVars>
      </dgm:prSet>
      <dgm:spPr/>
    </dgm:pt>
    <dgm:pt modelId="{D4DA819A-9F1A-9344-ADAA-3A8DDECA6851}" type="pres">
      <dgm:prSet presAssocID="{C3ACB4D6-7889-774B-A5F7-FFA378C074CF}" presName="rootComposite" presStyleCnt="0"/>
      <dgm:spPr/>
    </dgm:pt>
    <dgm:pt modelId="{3F382FC2-12CB-D943-89ED-75CADBE6B2B9}" type="pres">
      <dgm:prSet presAssocID="{C3ACB4D6-7889-774B-A5F7-FFA378C074CF}" presName="rootText" presStyleLbl="node3" presStyleIdx="15" presStyleCnt="18" custScaleY="163289">
        <dgm:presLayoutVars>
          <dgm:chPref val="3"/>
        </dgm:presLayoutVars>
      </dgm:prSet>
      <dgm:spPr>
        <a:prstGeom prst="roundRect">
          <a:avLst/>
        </a:prstGeom>
      </dgm:spPr>
      <dgm:t>
        <a:bodyPr/>
        <a:lstStyle/>
        <a:p>
          <a:endParaRPr lang="en-US"/>
        </a:p>
      </dgm:t>
    </dgm:pt>
    <dgm:pt modelId="{A9018DA5-07A6-1047-8906-D5CEBD268137}" type="pres">
      <dgm:prSet presAssocID="{C3ACB4D6-7889-774B-A5F7-FFA378C074CF}" presName="rootConnector" presStyleLbl="node3" presStyleIdx="15" presStyleCnt="18"/>
      <dgm:spPr/>
      <dgm:t>
        <a:bodyPr/>
        <a:lstStyle/>
        <a:p>
          <a:endParaRPr lang="en-US"/>
        </a:p>
      </dgm:t>
    </dgm:pt>
    <dgm:pt modelId="{B5813A8B-06F6-9048-B681-BC00AA738FE4}" type="pres">
      <dgm:prSet presAssocID="{C3ACB4D6-7889-774B-A5F7-FFA378C074CF}" presName="hierChild4" presStyleCnt="0"/>
      <dgm:spPr/>
    </dgm:pt>
    <dgm:pt modelId="{95C46E87-2E48-C342-A249-297A911EA1BF}" type="pres">
      <dgm:prSet presAssocID="{C3ACB4D6-7889-774B-A5F7-FFA378C074CF}" presName="hierChild5" presStyleCnt="0"/>
      <dgm:spPr/>
    </dgm:pt>
    <dgm:pt modelId="{CE80B93D-D000-8B4B-8100-E0B67DB0E877}" type="pres">
      <dgm:prSet presAssocID="{9197C098-8C8E-D049-B974-F3A046C386B0}" presName="Name37" presStyleLbl="parChTrans1D3" presStyleIdx="16" presStyleCnt="18" custSzY="3936388"/>
      <dgm:spPr/>
      <dgm:t>
        <a:bodyPr/>
        <a:lstStyle/>
        <a:p>
          <a:endParaRPr lang="en-US"/>
        </a:p>
      </dgm:t>
    </dgm:pt>
    <dgm:pt modelId="{135F96AC-C0EB-DF47-A8C8-A7B4CD21E5E7}" type="pres">
      <dgm:prSet presAssocID="{02A61A4C-1F65-A841-A4A7-C10C1A746FA0}" presName="hierRoot2" presStyleCnt="0">
        <dgm:presLayoutVars>
          <dgm:hierBranch val="init"/>
        </dgm:presLayoutVars>
      </dgm:prSet>
      <dgm:spPr/>
    </dgm:pt>
    <dgm:pt modelId="{211E14D2-36F3-F344-B001-DAEE9207C99A}" type="pres">
      <dgm:prSet presAssocID="{02A61A4C-1F65-A841-A4A7-C10C1A746FA0}" presName="rootComposite" presStyleCnt="0"/>
      <dgm:spPr/>
    </dgm:pt>
    <dgm:pt modelId="{EA99EEAC-15F9-BB4A-A17F-8DF66EAF1CDC}" type="pres">
      <dgm:prSet presAssocID="{02A61A4C-1F65-A841-A4A7-C10C1A746FA0}" presName="rootText" presStyleLbl="node3" presStyleIdx="16" presStyleCnt="18" custScaleY="163289">
        <dgm:presLayoutVars>
          <dgm:chPref val="3"/>
        </dgm:presLayoutVars>
      </dgm:prSet>
      <dgm:spPr>
        <a:prstGeom prst="roundRect">
          <a:avLst/>
        </a:prstGeom>
      </dgm:spPr>
      <dgm:t>
        <a:bodyPr/>
        <a:lstStyle/>
        <a:p>
          <a:endParaRPr lang="en-US"/>
        </a:p>
      </dgm:t>
    </dgm:pt>
    <dgm:pt modelId="{AF27EFD7-AEE3-5142-9BFD-36D0D1B36002}" type="pres">
      <dgm:prSet presAssocID="{02A61A4C-1F65-A841-A4A7-C10C1A746FA0}" presName="rootConnector" presStyleLbl="node3" presStyleIdx="16" presStyleCnt="18"/>
      <dgm:spPr/>
      <dgm:t>
        <a:bodyPr/>
        <a:lstStyle/>
        <a:p>
          <a:endParaRPr lang="en-US"/>
        </a:p>
      </dgm:t>
    </dgm:pt>
    <dgm:pt modelId="{9C8E7226-45B7-4C4E-9BE3-277B0CB35A46}" type="pres">
      <dgm:prSet presAssocID="{02A61A4C-1F65-A841-A4A7-C10C1A746FA0}" presName="hierChild4" presStyleCnt="0"/>
      <dgm:spPr/>
    </dgm:pt>
    <dgm:pt modelId="{B654A497-F541-7549-BE0E-498FA6C82A50}" type="pres">
      <dgm:prSet presAssocID="{02A61A4C-1F65-A841-A4A7-C10C1A746FA0}" presName="hierChild5" presStyleCnt="0"/>
      <dgm:spPr/>
    </dgm:pt>
    <dgm:pt modelId="{EE101F31-B493-FC4F-BA98-4DA93A046699}" type="pres">
      <dgm:prSet presAssocID="{9ACF3F41-8BA2-7647-A016-D4E5A2A50965}" presName="Name37" presStyleLbl="parChTrans1D3" presStyleIdx="17" presStyleCnt="18" custSzY="6370837"/>
      <dgm:spPr/>
      <dgm:t>
        <a:bodyPr/>
        <a:lstStyle/>
        <a:p>
          <a:endParaRPr lang="en-US"/>
        </a:p>
      </dgm:t>
    </dgm:pt>
    <dgm:pt modelId="{743FC97E-EDF8-8440-9167-2FF59851F03F}" type="pres">
      <dgm:prSet presAssocID="{6308DAA9-F7A4-2D4C-A7FF-EBCD8392D5BE}" presName="hierRoot2" presStyleCnt="0">
        <dgm:presLayoutVars>
          <dgm:hierBranch val="init"/>
        </dgm:presLayoutVars>
      </dgm:prSet>
      <dgm:spPr/>
    </dgm:pt>
    <dgm:pt modelId="{72E8E29A-9051-694D-A417-CE6EE9089A15}" type="pres">
      <dgm:prSet presAssocID="{6308DAA9-F7A4-2D4C-A7FF-EBCD8392D5BE}" presName="rootComposite" presStyleCnt="0"/>
      <dgm:spPr/>
    </dgm:pt>
    <dgm:pt modelId="{72D53164-9DF1-584A-A8A9-A81741EC7864}" type="pres">
      <dgm:prSet presAssocID="{6308DAA9-F7A4-2D4C-A7FF-EBCD8392D5BE}" presName="rootText" presStyleLbl="node3" presStyleIdx="17" presStyleCnt="18" custScaleY="163289">
        <dgm:presLayoutVars>
          <dgm:chPref val="3"/>
        </dgm:presLayoutVars>
      </dgm:prSet>
      <dgm:spPr>
        <a:prstGeom prst="roundRect">
          <a:avLst/>
        </a:prstGeom>
      </dgm:spPr>
      <dgm:t>
        <a:bodyPr/>
        <a:lstStyle/>
        <a:p>
          <a:endParaRPr lang="en-US"/>
        </a:p>
      </dgm:t>
    </dgm:pt>
    <dgm:pt modelId="{5108E4B9-C933-084B-87BD-17BA21FAC394}" type="pres">
      <dgm:prSet presAssocID="{6308DAA9-F7A4-2D4C-A7FF-EBCD8392D5BE}" presName="rootConnector" presStyleLbl="node3" presStyleIdx="17" presStyleCnt="18"/>
      <dgm:spPr/>
      <dgm:t>
        <a:bodyPr/>
        <a:lstStyle/>
        <a:p>
          <a:endParaRPr lang="en-US"/>
        </a:p>
      </dgm:t>
    </dgm:pt>
    <dgm:pt modelId="{649410E7-1B76-0045-8BBB-B901D379D30D}" type="pres">
      <dgm:prSet presAssocID="{6308DAA9-F7A4-2D4C-A7FF-EBCD8392D5BE}" presName="hierChild4" presStyleCnt="0"/>
      <dgm:spPr/>
    </dgm:pt>
    <dgm:pt modelId="{71FE410D-3141-9A4F-B3B0-E72482DDAA9E}" type="pres">
      <dgm:prSet presAssocID="{6308DAA9-F7A4-2D4C-A7FF-EBCD8392D5BE}" presName="hierChild5" presStyleCnt="0"/>
      <dgm:spPr/>
    </dgm:pt>
    <dgm:pt modelId="{563039BE-2DC6-AF4D-A183-8E60493152DD}" type="pres">
      <dgm:prSet presAssocID="{D069104F-4C0B-3147-953F-A5D93E0C8F12}" presName="hierChild5" presStyleCnt="0"/>
      <dgm:spPr/>
    </dgm:pt>
    <dgm:pt modelId="{42EF44E0-7DBD-CF4E-9797-0AB81CD9C8EC}" type="pres">
      <dgm:prSet presAssocID="{25517EF2-3665-EB4B-9D7F-2C037C685C4E}" presName="hierChild3" presStyleCnt="0"/>
      <dgm:spPr/>
    </dgm:pt>
  </dgm:ptLst>
  <dgm:cxnLst>
    <dgm:cxn modelId="{B03B2853-7799-6542-973F-38921B9C59DC}" srcId="{D069104F-4C0B-3147-953F-A5D93E0C8F12}" destId="{C3ACB4D6-7889-774B-A5F7-FFA378C074CF}" srcOrd="0" destOrd="0" parTransId="{2D781344-65A3-CC42-AE48-89E6ECA195E3}" sibTransId="{D38DE1B7-1B09-0E49-ACB8-C9CFDEF1647E}"/>
    <dgm:cxn modelId="{5F5E0269-DD2F-024B-A778-2C972529AD02}" type="presOf" srcId="{5959550F-67B9-B04E-91C4-902A91EFE7E5}" destId="{B9CC71A5-3834-534E-9ECE-601DD70734B2}" srcOrd="1" destOrd="0" presId="urn:microsoft.com/office/officeart/2005/8/layout/orgChart1"/>
    <dgm:cxn modelId="{3A2299A0-A0FA-6240-871D-982F54959DD5}" type="presOf" srcId="{D069104F-4C0B-3147-953F-A5D93E0C8F12}" destId="{78596C7B-EEAE-2041-808D-BB85B551442B}" srcOrd="1" destOrd="0" presId="urn:microsoft.com/office/officeart/2005/8/layout/orgChart1"/>
    <dgm:cxn modelId="{DE82662A-7317-3A44-9B7E-83AB1D77A8E6}" srcId="{67FD2AD4-7083-B34B-8AB9-E13081EF86F9}" destId="{73C75B63-3273-2346-8A61-65D3F5E8CBC0}" srcOrd="1" destOrd="0" parTransId="{411D2A1A-9B4A-674A-B93D-2C923CBCDFDB}" sibTransId="{0DA3E687-69A2-C040-A91D-CC726019B849}"/>
    <dgm:cxn modelId="{3C52D637-11E4-154D-9EC0-B217FE720190}" type="presOf" srcId="{02A61A4C-1F65-A841-A4A7-C10C1A746FA0}" destId="{AF27EFD7-AEE3-5142-9BFD-36D0D1B36002}" srcOrd="1" destOrd="0" presId="urn:microsoft.com/office/officeart/2005/8/layout/orgChart1"/>
    <dgm:cxn modelId="{53700430-2425-8A4C-9CC2-3F82ABA06980}" type="presOf" srcId="{480C2FAB-0A28-DC43-92DE-A584FB0DAE31}" destId="{312925C6-1321-8C4D-8ECE-565EBD85AA53}" srcOrd="0" destOrd="0" presId="urn:microsoft.com/office/officeart/2005/8/layout/orgChart1"/>
    <dgm:cxn modelId="{44982454-02A3-964A-A7E9-6B1BED7E6639}" srcId="{D069104F-4C0B-3147-953F-A5D93E0C8F12}" destId="{02A61A4C-1F65-A841-A4A7-C10C1A746FA0}" srcOrd="1" destOrd="0" parTransId="{9197C098-8C8E-D049-B974-F3A046C386B0}" sibTransId="{9C0643BD-024C-6945-806C-AD1907A088E2}"/>
    <dgm:cxn modelId="{42FDD865-AE5D-7645-AF6E-E08B55D75B89}" type="presOf" srcId="{7FF81494-F22E-3B4A-AE0B-9C51C4A0F12C}" destId="{D62CB30F-6901-594F-8775-B46F34227BC9}" srcOrd="0" destOrd="0" presId="urn:microsoft.com/office/officeart/2005/8/layout/orgChart1"/>
    <dgm:cxn modelId="{F9EEDC3A-34E3-8042-B6BE-3672B4AC79CE}" type="presOf" srcId="{BA6FF226-3807-2346-A740-CE3E60981FB3}" destId="{8C060B5F-BBBF-2049-9E6B-A69B2A074D8E}" srcOrd="1" destOrd="0" presId="urn:microsoft.com/office/officeart/2005/8/layout/orgChart1"/>
    <dgm:cxn modelId="{0A39CADD-CD32-8341-A8C1-BC11A7A7693D}" type="presOf" srcId="{A53C0CFE-184A-1146-8FA6-FFD39694D4B0}" destId="{2CA7FC21-BB86-E144-A530-0AA3F7C11ADE}" srcOrd="1" destOrd="0" presId="urn:microsoft.com/office/officeart/2005/8/layout/orgChart1"/>
    <dgm:cxn modelId="{E04C6730-3FFD-5D4B-985C-9C0A77B05039}" srcId="{4B26847B-222F-E04F-B93F-7958496DA65C}" destId="{C6588B98-FB28-334E-BDCA-56820ACB0569}" srcOrd="1" destOrd="0" parTransId="{3B5A4386-A293-8747-A207-2A8D5CABEA7A}" sibTransId="{1DAD777C-69EB-524E-B685-59D1A2C22C8E}"/>
    <dgm:cxn modelId="{95DF146B-F087-3D4D-A508-8ADFB9A26041}" type="presOf" srcId="{73C75B63-3273-2346-8A61-65D3F5E8CBC0}" destId="{96DE10DD-2A27-1E4E-A6B9-8640BCC5A191}" srcOrd="0" destOrd="0" presId="urn:microsoft.com/office/officeart/2005/8/layout/orgChart1"/>
    <dgm:cxn modelId="{C9486D0F-9BD5-CB42-8884-44CF7DE0E3C5}" type="presOf" srcId="{33424807-C11D-7C4A-85E7-BB0E19ACD352}" destId="{44E963F3-2784-9E43-9E90-000EB562AE2A}" srcOrd="0" destOrd="0" presId="urn:microsoft.com/office/officeart/2005/8/layout/orgChart1"/>
    <dgm:cxn modelId="{AE48EF53-B757-8847-A7EA-1C64EA106AE3}" type="presOf" srcId="{11B5AD18-48FD-6A4B-A82C-B8D0882BDFD5}" destId="{35D57237-8BFB-E945-A7A7-3C3A20E1DD9C}" srcOrd="1" destOrd="0" presId="urn:microsoft.com/office/officeart/2005/8/layout/orgChart1"/>
    <dgm:cxn modelId="{C722FA4F-0F4C-6843-AEAC-42EBAAAE8C40}" type="presOf" srcId="{6308DAA9-F7A4-2D4C-A7FF-EBCD8392D5BE}" destId="{5108E4B9-C933-084B-87BD-17BA21FAC394}" srcOrd="1" destOrd="0" presId="urn:microsoft.com/office/officeart/2005/8/layout/orgChart1"/>
    <dgm:cxn modelId="{2B4BD642-DB63-9941-B96A-5C6030597B47}" type="presOf" srcId="{5B4F3E0D-971E-3647-86E4-6868F203DC2B}" destId="{8249A152-56BE-E046-8A45-0C56C7C1D191}" srcOrd="1" destOrd="0" presId="urn:microsoft.com/office/officeart/2005/8/layout/orgChart1"/>
    <dgm:cxn modelId="{8EA638D7-7A28-B24A-B7F1-1A5383F448C2}" type="presOf" srcId="{76C0524B-EDDB-FA4A-A6A1-2FDCA1EEFA25}" destId="{129F0079-A483-7E48-A321-97C36DBA0475}" srcOrd="0" destOrd="0" presId="urn:microsoft.com/office/officeart/2005/8/layout/orgChart1"/>
    <dgm:cxn modelId="{8EF3F247-2832-504E-8E6D-ECD3FFE41BD9}" type="presOf" srcId="{F35DDD95-A0E8-D04C-90F4-7D2AE6A0AF8D}" destId="{910491EA-604E-6842-9866-DF2E9CD33930}" srcOrd="0" destOrd="0" presId="urn:microsoft.com/office/officeart/2005/8/layout/orgChart1"/>
    <dgm:cxn modelId="{DF25B808-2C2E-AB4E-83C0-EA775FF39385}" type="presOf" srcId="{E110FCDD-5DD2-7A49-B84B-225145A8853A}" destId="{FD0BC2B8-08A5-504D-8B97-A8DFE6F2353D}" srcOrd="0" destOrd="0" presId="urn:microsoft.com/office/officeart/2005/8/layout/orgChart1"/>
    <dgm:cxn modelId="{C5ED539A-0585-6544-AB93-75D044498BB7}" type="presOf" srcId="{02A61A4C-1F65-A841-A4A7-C10C1A746FA0}" destId="{EA99EEAC-15F9-BB4A-A17F-8DF66EAF1CDC}" srcOrd="0" destOrd="0" presId="urn:microsoft.com/office/officeart/2005/8/layout/orgChart1"/>
    <dgm:cxn modelId="{FA33350B-047F-1E42-845D-621A7DAF2F1A}" type="presOf" srcId="{6ED0CB55-86AA-574C-ACD3-3B855323E998}" destId="{10D8D681-CBDA-D246-9198-063E1F1463D5}" srcOrd="1" destOrd="0" presId="urn:microsoft.com/office/officeart/2005/8/layout/orgChart1"/>
    <dgm:cxn modelId="{507A7539-079D-884C-A750-47DC0E0F2B5F}" srcId="{25517EF2-3665-EB4B-9D7F-2C037C685C4E}" destId="{5B4F3E0D-971E-3647-86E4-6868F203DC2B}" srcOrd="2" destOrd="0" parTransId="{F35DDD95-A0E8-D04C-90F4-7D2AE6A0AF8D}" sibTransId="{F173B29F-EA33-FF4F-8F61-60CD6EE8F154}"/>
    <dgm:cxn modelId="{2618F646-7BFB-5D4C-99BD-BA059763037B}" type="presOf" srcId="{1DF3C01B-2614-5C42-80DD-7422BFA9073B}" destId="{62108426-B799-194D-AB78-22283909E5A2}" srcOrd="1" destOrd="0" presId="urn:microsoft.com/office/officeart/2005/8/layout/orgChart1"/>
    <dgm:cxn modelId="{49FD6516-D93D-134E-A0C0-6AD4CBD8F9A6}" type="presOf" srcId="{5959550F-67B9-B04E-91C4-902A91EFE7E5}" destId="{0B86221D-B7E4-B74C-ACB9-8C43A9AE47F7}" srcOrd="0" destOrd="0" presId="urn:microsoft.com/office/officeart/2005/8/layout/orgChart1"/>
    <dgm:cxn modelId="{41138B47-C8FF-6945-B109-CBA4F5C2DC83}" type="presOf" srcId="{07AFA923-B56F-0042-B585-5B06F0FA0896}" destId="{0F5D9B2B-0CE6-4D47-A7B6-80BAEBDC59FC}" srcOrd="0" destOrd="0" presId="urn:microsoft.com/office/officeart/2005/8/layout/orgChart1"/>
    <dgm:cxn modelId="{32D5D0E6-C0AD-204B-A0BC-00337DDDB66E}" type="presOf" srcId="{964A5E62-97E7-C048-9268-0DD949F4134F}" destId="{7B5B0F12-5DDA-9943-9092-2A10F2FE9601}" srcOrd="0" destOrd="0" presId="urn:microsoft.com/office/officeart/2005/8/layout/orgChart1"/>
    <dgm:cxn modelId="{83403F33-677C-B94D-BD74-07ABFDF14D78}" type="presOf" srcId="{3B5A4386-A293-8747-A207-2A8D5CABEA7A}" destId="{88E2A4D5-E62D-B048-BDF2-2627D68216CE}" srcOrd="0" destOrd="0" presId="urn:microsoft.com/office/officeart/2005/8/layout/orgChart1"/>
    <dgm:cxn modelId="{7CDEBBA4-7E3C-AB4E-A0A4-6B45A69B9997}" type="presOf" srcId="{4BB222BF-BE28-4C47-9A72-39286C322445}" destId="{323D0151-0AF0-7A44-BCE6-C10462839127}" srcOrd="0" destOrd="0" presId="urn:microsoft.com/office/officeart/2005/8/layout/orgChart1"/>
    <dgm:cxn modelId="{C07CDC57-6368-A645-A95B-7D8FA3A74274}" type="presOf" srcId="{C6588B98-FB28-334E-BDCA-56820ACB0569}" destId="{CCA6A030-3016-FB4D-BB2D-797B6CA6511F}" srcOrd="1" destOrd="0" presId="urn:microsoft.com/office/officeart/2005/8/layout/orgChart1"/>
    <dgm:cxn modelId="{170D5CB6-39D9-EF40-86CB-D7C546D0F96C}" type="presOf" srcId="{8C2CA5B6-6500-9D43-9984-AE6727A18F74}" destId="{35471471-CB84-0746-BDD4-1655B6C5471A}" srcOrd="0" destOrd="0" presId="urn:microsoft.com/office/officeart/2005/8/layout/orgChart1"/>
    <dgm:cxn modelId="{1BA6F9EE-A2DD-0743-9AB9-02C159019733}" srcId="{25517EF2-3665-EB4B-9D7F-2C037C685C4E}" destId="{67FD2AD4-7083-B34B-8AB9-E13081EF86F9}" srcOrd="4" destOrd="0" parTransId="{F409B74A-4849-4F40-B00A-E62D8179565D}" sibTransId="{3897B640-7E39-3E42-96E9-264EBC4AEE1F}"/>
    <dgm:cxn modelId="{A4B92493-46F0-C545-811E-1AC2A7BECD01}" type="presOf" srcId="{25517EF2-3665-EB4B-9D7F-2C037C685C4E}" destId="{466535D8-AEE6-1D47-974F-880041EEEAA5}" srcOrd="1" destOrd="0" presId="urn:microsoft.com/office/officeart/2005/8/layout/orgChart1"/>
    <dgm:cxn modelId="{B00A64FC-E62B-0B48-B010-0717DFBC827A}" srcId="{AF3357FD-18B0-1644-966C-BCE3778B58DD}" destId="{25517EF2-3665-EB4B-9D7F-2C037C685C4E}" srcOrd="0" destOrd="0" parTransId="{D1D1E974-9AD9-1A42-A6F6-F902A49BDCFF}" sibTransId="{56D907EF-C84C-3B48-8C95-0AE5C1659474}"/>
    <dgm:cxn modelId="{C203B2CE-A917-214F-BBD3-F2AB2369303F}" type="presOf" srcId="{705E07FB-4646-5640-AD39-5663CA022EE0}" destId="{FCB70BC6-8BC2-7740-8498-E09039141FAE}" srcOrd="0" destOrd="0" presId="urn:microsoft.com/office/officeart/2005/8/layout/orgChart1"/>
    <dgm:cxn modelId="{CF4074DA-E686-5D49-A255-FBB7B766E6D6}" type="presOf" srcId="{67FD2AD4-7083-B34B-8AB9-E13081EF86F9}" destId="{64829248-69CA-0B4E-875C-600221CC892E}" srcOrd="1" destOrd="0" presId="urn:microsoft.com/office/officeart/2005/8/layout/orgChart1"/>
    <dgm:cxn modelId="{0A0EC45A-B6D3-834B-BE03-D869E0E92684}" type="presOf" srcId="{49CB4C51-4B03-F94A-A9CC-2536C8F9270F}" destId="{F63DB975-E825-ED40-9ED5-8EF8047133DC}" srcOrd="0" destOrd="0" presId="urn:microsoft.com/office/officeart/2005/8/layout/orgChart1"/>
    <dgm:cxn modelId="{567C4151-E086-6440-93D2-C44BC75B3D12}" srcId="{5B4F3E0D-971E-3647-86E4-6868F203DC2B}" destId="{11B5AD18-48FD-6A4B-A82C-B8D0882BDFD5}" srcOrd="1" destOrd="0" parTransId="{76C0524B-EDDB-FA4A-A6A1-2FDCA1EEFA25}" sibTransId="{F5E5DF55-1CB3-094F-AB65-827743BF210C}"/>
    <dgm:cxn modelId="{48E26F9B-3A9C-6845-AD08-D98F8B9CB8F9}" type="presOf" srcId="{1DF3C01B-2614-5C42-80DD-7422BFA9073B}" destId="{C8DB6E88-65AB-3947-BF5E-D30F973C203C}" srcOrd="0" destOrd="0" presId="urn:microsoft.com/office/officeart/2005/8/layout/orgChart1"/>
    <dgm:cxn modelId="{8F920AE9-1886-AC40-A98C-863F5AB3ABB2}" srcId="{25517EF2-3665-EB4B-9D7F-2C037C685C4E}" destId="{4B26847B-222F-E04F-B93F-7958496DA65C}" srcOrd="0" destOrd="0" parTransId="{07AFA923-B56F-0042-B585-5B06F0FA0896}" sibTransId="{EF2C2E1F-9C59-4E44-9BFF-B9B74523D935}"/>
    <dgm:cxn modelId="{6395D2D6-9093-984B-BF32-B7A82BED7ADA}" srcId="{49CB4C51-4B03-F94A-A9CC-2536C8F9270F}" destId="{D388754C-8CDF-944F-81D9-734A1D624DE5}" srcOrd="1" destOrd="0" parTransId="{7D0C8FC0-2822-5146-86DC-E862D57D28F7}" sibTransId="{06E79FDE-5F09-BB4D-B6D0-7AB67CB26B63}"/>
    <dgm:cxn modelId="{093DFD99-0409-0D42-9294-39DD976BD5A6}" type="presOf" srcId="{1A5ABF02-3DC0-3F46-89A6-D4A83DB904D1}" destId="{C8CB1346-EB34-094E-8B3A-28042614FB03}" srcOrd="1" destOrd="0" presId="urn:microsoft.com/office/officeart/2005/8/layout/orgChart1"/>
    <dgm:cxn modelId="{9AB54B02-1C7E-8D47-960A-BF42806A0D88}" type="presOf" srcId="{9197C098-8C8E-D049-B974-F3A046C386B0}" destId="{CE80B93D-D000-8B4B-8100-E0B67DB0E877}" srcOrd="0" destOrd="0" presId="urn:microsoft.com/office/officeart/2005/8/layout/orgChart1"/>
    <dgm:cxn modelId="{67F6D5E6-D4D3-DB49-B00F-DD357536457A}" type="presOf" srcId="{14A9B10A-492B-F046-AA45-A18CECB57509}" destId="{BD45870A-B3FE-4649-A1E8-44ABA898ACEB}" srcOrd="0" destOrd="0" presId="urn:microsoft.com/office/officeart/2005/8/layout/orgChart1"/>
    <dgm:cxn modelId="{B456C1ED-CE32-F147-B0E7-907F06C4219F}" srcId="{25517EF2-3665-EB4B-9D7F-2C037C685C4E}" destId="{D069104F-4C0B-3147-953F-A5D93E0C8F12}" srcOrd="5" destOrd="0" parTransId="{E110FCDD-5DD2-7A49-B84B-225145A8853A}" sibTransId="{39A089AB-A795-484A-A4A6-264956AD86C0}"/>
    <dgm:cxn modelId="{65F809E6-B249-9449-9FDD-E37C8F912C93}" type="presOf" srcId="{537E3EB2-8400-9F46-8E14-018A525A6F13}" destId="{6CD5F04D-881E-FF45-840F-9065F725359E}" srcOrd="0" destOrd="0" presId="urn:microsoft.com/office/officeart/2005/8/layout/orgChart1"/>
    <dgm:cxn modelId="{219BA358-66B7-0F44-B8A3-21E80178ACCF}" srcId="{25517EF2-3665-EB4B-9D7F-2C037C685C4E}" destId="{C70D9AAD-288E-0B4A-A4D2-9169EEB4C5EF}" srcOrd="1" destOrd="0" parTransId="{F5F28F68-69DA-C347-938A-3CCF605B29AB}" sibTransId="{6A1A54A5-98A7-FF49-9699-4CB4608AB21F}"/>
    <dgm:cxn modelId="{2DB5EFD8-AA35-3D44-982F-3C839A1C30C0}" srcId="{4B26847B-222F-E04F-B93F-7958496DA65C}" destId="{6ED0CB55-86AA-574C-ACD3-3B855323E998}" srcOrd="2" destOrd="0" parTransId="{7D0052A5-00E7-E545-B888-401A40246FF3}" sibTransId="{29D931B7-5EF3-7C46-8DD6-E1AF7D9AF902}"/>
    <dgm:cxn modelId="{A3DEF5DD-4DA5-064F-9A64-A11BE283B5FA}" srcId="{4B26847B-222F-E04F-B93F-7958496DA65C}" destId="{50B35D2E-59F3-7346-A146-7B84569A5183}" srcOrd="0" destOrd="0" parTransId="{33424807-C11D-7C4A-85E7-BB0E19ACD352}" sibTransId="{FD010288-FF0D-2D49-A5AC-435BA24A2550}"/>
    <dgm:cxn modelId="{1AFFAE5B-C4D2-C641-91BB-2A12FDD508D8}" type="presOf" srcId="{8C2CA5B6-6500-9D43-9984-AE6727A18F74}" destId="{BF48F31E-442A-8542-BEC6-8A1283ECC0DC}" srcOrd="1" destOrd="0" presId="urn:microsoft.com/office/officeart/2005/8/layout/orgChart1"/>
    <dgm:cxn modelId="{BAADB41F-D3DD-094B-819A-2B12EFDA952B}" type="presOf" srcId="{49CB4C51-4B03-F94A-A9CC-2536C8F9270F}" destId="{448BE257-6BD3-154B-8455-7442213A9C1F}" srcOrd="1" destOrd="0" presId="urn:microsoft.com/office/officeart/2005/8/layout/orgChart1"/>
    <dgm:cxn modelId="{9A43DC00-7CFB-E944-A61A-772AC3B1A419}" srcId="{25517EF2-3665-EB4B-9D7F-2C037C685C4E}" destId="{49CB4C51-4B03-F94A-A9CC-2536C8F9270F}" srcOrd="3" destOrd="0" parTransId="{4BB222BF-BE28-4C47-9A72-39286C322445}" sibTransId="{B9C2BE04-1365-0646-9A8C-152868F5C0E7}"/>
    <dgm:cxn modelId="{A36B01A2-EF46-2B4A-B4B9-5FCB9A2315D0}" srcId="{49CB4C51-4B03-F94A-A9CC-2536C8F9270F}" destId="{14A9B10A-492B-F046-AA45-A18CECB57509}" srcOrd="0" destOrd="0" parTransId="{964A5E62-97E7-C048-9268-0DD949F4134F}" sibTransId="{7A26E861-AF89-6F4A-88AE-4CE5F18F3043}"/>
    <dgm:cxn modelId="{7D8294E6-07BD-5D4C-9ACF-8116659315FA}" srcId="{5B4F3E0D-971E-3647-86E4-6868F203DC2B}" destId="{1A5ABF02-3DC0-3F46-89A6-D4A83DB904D1}" srcOrd="0" destOrd="0" parTransId="{7FF81494-F22E-3B4A-AE0B-9C51C4A0F12C}" sibTransId="{CD3754BE-0B21-2447-82D0-254D5E91DDB9}"/>
    <dgm:cxn modelId="{F9576665-BCA7-CF4A-9A56-E3B7F8A06086}" type="presOf" srcId="{3096FC50-CDEA-CD40-A16C-4FE101488966}" destId="{65969C0C-C4EF-8044-B112-A2052B5FA261}" srcOrd="0" destOrd="0" presId="urn:microsoft.com/office/officeart/2005/8/layout/orgChart1"/>
    <dgm:cxn modelId="{D3656547-4FE9-5C46-8AF9-1BAE6BBB3612}" srcId="{5B4F3E0D-971E-3647-86E4-6868F203DC2B}" destId="{1DF3C01B-2614-5C42-80DD-7422BFA9073B}" srcOrd="2" destOrd="0" parTransId="{EFC072AF-A0F9-2340-A2B6-3F5834C6C0F3}" sibTransId="{036CF8FE-F202-7F4F-841D-5436F4E76D0C}"/>
    <dgm:cxn modelId="{E14E92F6-6E2A-F14E-8AF5-1768A5A643F9}" type="presOf" srcId="{5B4F3E0D-971E-3647-86E4-6868F203DC2B}" destId="{C98D4C05-6DFD-F848-8831-CA53C562EFA9}" srcOrd="0" destOrd="0" presId="urn:microsoft.com/office/officeart/2005/8/layout/orgChart1"/>
    <dgm:cxn modelId="{E8D3F3DB-C9BB-4F45-8AA5-0295F5D36E21}" type="presOf" srcId="{73C75B63-3273-2346-8A61-65D3F5E8CBC0}" destId="{8F158EFB-F898-3C42-9661-FD99398859DA}" srcOrd="1" destOrd="0" presId="urn:microsoft.com/office/officeart/2005/8/layout/orgChart1"/>
    <dgm:cxn modelId="{38A3CEEA-1A8B-3949-A68C-66DA4E98B012}" type="presOf" srcId="{D069104F-4C0B-3147-953F-A5D93E0C8F12}" destId="{0FE69002-AB56-3740-A6BE-C29542137A47}" srcOrd="0" destOrd="0" presId="urn:microsoft.com/office/officeart/2005/8/layout/orgChart1"/>
    <dgm:cxn modelId="{20719F90-EF29-C343-8639-0A67895FA954}" type="presOf" srcId="{D388754C-8CDF-944F-81D9-734A1D624DE5}" destId="{C032D471-E31D-BF47-90BC-0B75D3183438}" srcOrd="1" destOrd="0" presId="urn:microsoft.com/office/officeart/2005/8/layout/orgChart1"/>
    <dgm:cxn modelId="{F59B35E9-CB51-C84A-937D-BC81613788BB}" type="presOf" srcId="{338A4ADE-7A0B-DA46-A749-6378547614AE}" destId="{CD5ED238-8A46-9548-AD80-16CB05272A14}" srcOrd="1" destOrd="0" presId="urn:microsoft.com/office/officeart/2005/8/layout/orgChart1"/>
    <dgm:cxn modelId="{FF5ABE1F-82D7-2749-A905-EED4163BAFDB}" type="presOf" srcId="{C6588B98-FB28-334E-BDCA-56820ACB0569}" destId="{3B98D480-5A9A-0A4D-8BDC-FE216FA48EE4}" srcOrd="0" destOrd="0" presId="urn:microsoft.com/office/officeart/2005/8/layout/orgChart1"/>
    <dgm:cxn modelId="{F13AB6CA-22DF-2640-983A-508354BF7CA7}" type="presOf" srcId="{50B35D2E-59F3-7346-A146-7B84569A5183}" destId="{2ED78204-93EC-064C-823A-1586CD82394C}" srcOrd="0" destOrd="0" presId="urn:microsoft.com/office/officeart/2005/8/layout/orgChart1"/>
    <dgm:cxn modelId="{78FA34E4-CA24-524C-8CB7-ADC89173095C}" type="presOf" srcId="{C3ACB4D6-7889-774B-A5F7-FFA378C074CF}" destId="{3F382FC2-12CB-D943-89ED-75CADBE6B2B9}" srcOrd="0" destOrd="0" presId="urn:microsoft.com/office/officeart/2005/8/layout/orgChart1"/>
    <dgm:cxn modelId="{F5DF90F2-A702-2949-8F8D-32D6A566FF79}" type="presOf" srcId="{C70D9AAD-288E-0B4A-A4D2-9169EEB4C5EF}" destId="{A8476105-19F1-B646-B233-7DFE7667D28F}" srcOrd="1" destOrd="0" presId="urn:microsoft.com/office/officeart/2005/8/layout/orgChart1"/>
    <dgm:cxn modelId="{343A7557-110A-6E4D-B275-B7A939A2972B}" type="presOf" srcId="{D388754C-8CDF-944F-81D9-734A1D624DE5}" destId="{667C8B84-66F0-D04D-AF88-0F329C747158}" srcOrd="0" destOrd="0" presId="urn:microsoft.com/office/officeart/2005/8/layout/orgChart1"/>
    <dgm:cxn modelId="{754F6F21-2B4B-4F47-82CF-AE57246AB88B}" type="presOf" srcId="{C70D9AAD-288E-0B4A-A4D2-9169EEB4C5EF}" destId="{6A1B3FF2-4302-AB42-9144-D0C7AF33189D}" srcOrd="0" destOrd="0" presId="urn:microsoft.com/office/officeart/2005/8/layout/orgChart1"/>
    <dgm:cxn modelId="{2BF524E2-1BD9-DA47-8878-2D47CE1636A8}" srcId="{C70D9AAD-288E-0B4A-A4D2-9169EEB4C5EF}" destId="{8C2CA5B6-6500-9D43-9984-AE6727A18F74}" srcOrd="1" destOrd="0" parTransId="{537E3EB2-8400-9F46-8E14-018A525A6F13}" sibTransId="{B03FC588-7422-B345-AC2A-404830D942A9}"/>
    <dgm:cxn modelId="{E228CA4A-B13B-EF41-B155-EBF24F92141D}" type="presOf" srcId="{F409B74A-4849-4F40-B00A-E62D8179565D}" destId="{1480E8B4-F1B6-8246-9806-7D2D0CB68815}" srcOrd="0" destOrd="0" presId="urn:microsoft.com/office/officeart/2005/8/layout/orgChart1"/>
    <dgm:cxn modelId="{DE475260-3A92-934F-B6B6-0F0EE16460F4}" srcId="{67FD2AD4-7083-B34B-8AB9-E13081EF86F9}" destId="{A53C0CFE-184A-1146-8FA6-FFD39694D4B0}" srcOrd="2" destOrd="0" parTransId="{3096FC50-CDEA-CD40-A16C-4FE101488966}" sibTransId="{713A8226-1B84-4E41-A1CB-EBD5E7CFFDE7}"/>
    <dgm:cxn modelId="{765F496A-DF0A-D340-82AA-515F7E305441}" srcId="{49CB4C51-4B03-F94A-A9CC-2536C8F9270F}" destId="{5959550F-67B9-B04E-91C4-902A91EFE7E5}" srcOrd="2" destOrd="0" parTransId="{BEEC9641-8114-8F4D-8D80-33DB53450849}" sibTransId="{13323021-6798-904F-A2E1-2BF25AC8C76A}"/>
    <dgm:cxn modelId="{ACA68BA4-2884-9D41-8595-1867A70CDDE9}" type="presOf" srcId="{BA6FF226-3807-2346-A740-CE3E60981FB3}" destId="{22959F47-69F7-D445-9334-5C7C176A2653}" srcOrd="0" destOrd="0" presId="urn:microsoft.com/office/officeart/2005/8/layout/orgChart1"/>
    <dgm:cxn modelId="{9DCEB7C2-5238-0947-8239-2CBBBAC102FA}" type="presOf" srcId="{67FD2AD4-7083-B34B-8AB9-E13081EF86F9}" destId="{572E3CDC-5D66-514E-8912-D04551846EC7}" srcOrd="0" destOrd="0" presId="urn:microsoft.com/office/officeart/2005/8/layout/orgChart1"/>
    <dgm:cxn modelId="{04F6A690-CD25-0141-900E-C3DE3FD42D60}" type="presOf" srcId="{4B26847B-222F-E04F-B93F-7958496DA65C}" destId="{A7DBADC9-C072-5C48-A3E3-552A2F42BAEE}" srcOrd="1" destOrd="0" presId="urn:microsoft.com/office/officeart/2005/8/layout/orgChart1"/>
    <dgm:cxn modelId="{4C4FAA6A-FB05-D740-AF92-B5A4CD82B0CC}" srcId="{D069104F-4C0B-3147-953F-A5D93E0C8F12}" destId="{6308DAA9-F7A4-2D4C-A7FF-EBCD8392D5BE}" srcOrd="2" destOrd="0" parTransId="{9ACF3F41-8BA2-7647-A016-D4E5A2A50965}" sibTransId="{2541B10E-6F92-C44B-974B-71F50AD1905E}"/>
    <dgm:cxn modelId="{211BEE86-1561-C349-8522-9CD004A4374D}" type="presOf" srcId="{EFC072AF-A0F9-2340-A2B6-3F5834C6C0F3}" destId="{5030E2EE-B0D1-364F-B6DF-876E246B6AE1}" srcOrd="0" destOrd="0" presId="urn:microsoft.com/office/officeart/2005/8/layout/orgChart1"/>
    <dgm:cxn modelId="{7685185E-809F-8C48-8DF5-50EA1CDCFFA0}" type="presOf" srcId="{9ACF3F41-8BA2-7647-A016-D4E5A2A50965}" destId="{EE101F31-B493-FC4F-BA98-4DA93A046699}" srcOrd="0" destOrd="0" presId="urn:microsoft.com/office/officeart/2005/8/layout/orgChart1"/>
    <dgm:cxn modelId="{98666717-6EB9-7242-9FDC-0CC75A2DBEDC}" type="presOf" srcId="{338A4ADE-7A0B-DA46-A749-6378547614AE}" destId="{9276651D-6194-EA49-8E09-02C1BFFFA9D5}" srcOrd="0" destOrd="0" presId="urn:microsoft.com/office/officeart/2005/8/layout/orgChart1"/>
    <dgm:cxn modelId="{4F00E388-C72F-E24D-B41C-C77F61A7A0A7}" srcId="{C70D9AAD-288E-0B4A-A4D2-9169EEB4C5EF}" destId="{BA6FF226-3807-2346-A740-CE3E60981FB3}" srcOrd="0" destOrd="0" parTransId="{705E07FB-4646-5640-AD39-5663CA022EE0}" sibTransId="{4F2ECF20-4C49-5249-A0EF-5FAE6D3E84AE}"/>
    <dgm:cxn modelId="{37AFD6A0-1723-B741-9408-2E329BC5DDB1}" type="presOf" srcId="{4B26847B-222F-E04F-B93F-7958496DA65C}" destId="{91D7ADA8-1475-9349-913E-9C2D53C1D7C9}" srcOrd="0" destOrd="0" presId="urn:microsoft.com/office/officeart/2005/8/layout/orgChart1"/>
    <dgm:cxn modelId="{5CA26533-50D2-314E-89C7-D231D93DF204}" type="presOf" srcId="{2D781344-65A3-CC42-AE48-89E6ECA195E3}" destId="{18EACF5C-66CA-3E4D-8C5C-FF5941FDB285}" srcOrd="0" destOrd="0" presId="urn:microsoft.com/office/officeart/2005/8/layout/orgChart1"/>
    <dgm:cxn modelId="{841D320F-EB86-834B-9F30-26FCE9C7D3BC}" type="presOf" srcId="{50B35D2E-59F3-7346-A146-7B84569A5183}" destId="{36770380-7547-ED48-AB39-E00707E5AE49}" srcOrd="1" destOrd="0" presId="urn:microsoft.com/office/officeart/2005/8/layout/orgChart1"/>
    <dgm:cxn modelId="{D2126E18-B55D-E34A-BC1B-D4818C6C22A8}" type="presOf" srcId="{F5F28F68-69DA-C347-938A-3CCF605B29AB}" destId="{6AB3DB73-5383-E944-8E93-5490DBAC07ED}" srcOrd="0" destOrd="0" presId="urn:microsoft.com/office/officeart/2005/8/layout/orgChart1"/>
    <dgm:cxn modelId="{741F19AB-2CC4-DB4C-AA19-DA6EC62E95CF}" type="presOf" srcId="{AF3357FD-18B0-1644-966C-BCE3778B58DD}" destId="{30607E5D-7EC8-8446-AD48-AEEC633315C8}" srcOrd="0" destOrd="0" presId="urn:microsoft.com/office/officeart/2005/8/layout/orgChart1"/>
    <dgm:cxn modelId="{468376E6-F32C-784C-AF1C-F32F9EEE22F0}" srcId="{67FD2AD4-7083-B34B-8AB9-E13081EF86F9}" destId="{480C2FAB-0A28-DC43-92DE-A584FB0DAE31}" srcOrd="0" destOrd="0" parTransId="{D5307D3E-A636-324D-8C3A-9829230BB487}" sibTransId="{A7E8F226-EDDB-004D-8FA7-624FBA8EE44D}"/>
    <dgm:cxn modelId="{8C096D0C-716D-D741-B130-B84B1B609CE5}" type="presOf" srcId="{BEEC9641-8114-8F4D-8D80-33DB53450849}" destId="{EBF62F60-4DCC-6C46-AE65-EDFFE870F1F4}" srcOrd="0" destOrd="0" presId="urn:microsoft.com/office/officeart/2005/8/layout/orgChart1"/>
    <dgm:cxn modelId="{8ECC03A2-A25D-804A-AE19-650D9BA67C4C}" type="presOf" srcId="{6ED0CB55-86AA-574C-ACD3-3B855323E998}" destId="{2C0E0A56-4821-5340-9545-5653DBEF3E82}" srcOrd="0" destOrd="0" presId="urn:microsoft.com/office/officeart/2005/8/layout/orgChart1"/>
    <dgm:cxn modelId="{6866A08B-E194-C546-8455-3C877D84CA67}" type="presOf" srcId="{25517EF2-3665-EB4B-9D7F-2C037C685C4E}" destId="{06637420-A86F-4644-990A-75D86B7E454C}" srcOrd="0" destOrd="0" presId="urn:microsoft.com/office/officeart/2005/8/layout/orgChart1"/>
    <dgm:cxn modelId="{6F47062D-6E63-1C4F-8B35-A2743E2FDBE3}" srcId="{C70D9AAD-288E-0B4A-A4D2-9169EEB4C5EF}" destId="{338A4ADE-7A0B-DA46-A749-6378547614AE}" srcOrd="2" destOrd="0" parTransId="{7085B25D-4135-BC43-B854-9EAACE03C079}" sibTransId="{DAB67360-C5DA-964D-A265-B384EDA879CD}"/>
    <dgm:cxn modelId="{D7A3F940-0E04-9746-8BA2-2DFD4F47F9C6}" type="presOf" srcId="{7085B25D-4135-BC43-B854-9EAACE03C079}" destId="{2DC6FEB6-D342-A148-B4E4-3574392637D2}" srcOrd="0" destOrd="0" presId="urn:microsoft.com/office/officeart/2005/8/layout/orgChart1"/>
    <dgm:cxn modelId="{AEE38EB9-50F1-574E-A09F-85E152B6F31F}" type="presOf" srcId="{1A5ABF02-3DC0-3F46-89A6-D4A83DB904D1}" destId="{7AAAE15D-9C55-1D43-B8B7-B04F0D48EABD}" srcOrd="0" destOrd="0" presId="urn:microsoft.com/office/officeart/2005/8/layout/orgChart1"/>
    <dgm:cxn modelId="{A5B3E3BA-DFCF-7A49-8F0B-B3EB9886DB4B}" type="presOf" srcId="{14A9B10A-492B-F046-AA45-A18CECB57509}" destId="{6D27B739-9A5A-FE45-BC1E-B91110B18E69}" srcOrd="1" destOrd="0" presId="urn:microsoft.com/office/officeart/2005/8/layout/orgChart1"/>
    <dgm:cxn modelId="{8F0C7A21-E132-8041-999D-8FFA929BBA84}" type="presOf" srcId="{7D0C8FC0-2822-5146-86DC-E862D57D28F7}" destId="{4C9BEE53-E580-D245-BCCD-590C85D76065}" srcOrd="0" destOrd="0" presId="urn:microsoft.com/office/officeart/2005/8/layout/orgChart1"/>
    <dgm:cxn modelId="{6B73F4AE-7A7E-BA4C-9684-905D504499CA}" type="presOf" srcId="{D5307D3E-A636-324D-8C3A-9829230BB487}" destId="{44F6E45F-C07E-304C-AB67-8E8552A42778}" srcOrd="0" destOrd="0" presId="urn:microsoft.com/office/officeart/2005/8/layout/orgChart1"/>
    <dgm:cxn modelId="{1C1FE5F7-22F5-6844-9A06-C6042B5AA481}" type="presOf" srcId="{480C2FAB-0A28-DC43-92DE-A584FB0DAE31}" destId="{51242648-056D-864F-A823-CF2B10E36DC5}" srcOrd="1" destOrd="0" presId="urn:microsoft.com/office/officeart/2005/8/layout/orgChart1"/>
    <dgm:cxn modelId="{0278C06A-4F24-4941-9897-3E74014F7D5A}" type="presOf" srcId="{6308DAA9-F7A4-2D4C-A7FF-EBCD8392D5BE}" destId="{72D53164-9DF1-584A-A8A9-A81741EC7864}" srcOrd="0" destOrd="0" presId="urn:microsoft.com/office/officeart/2005/8/layout/orgChart1"/>
    <dgm:cxn modelId="{B4D8407F-2459-A044-B50F-505DEEF8B3C6}" type="presOf" srcId="{A53C0CFE-184A-1146-8FA6-FFD39694D4B0}" destId="{210923D2-AC03-0946-B698-462DDD0B6542}" srcOrd="0" destOrd="0" presId="urn:microsoft.com/office/officeart/2005/8/layout/orgChart1"/>
    <dgm:cxn modelId="{3B779D0B-1A39-F245-89A9-52C17388ABAB}" type="presOf" srcId="{7D0052A5-00E7-E545-B888-401A40246FF3}" destId="{CDA8158C-1C6B-024B-9E64-1510DD2C7A55}" srcOrd="0" destOrd="0" presId="urn:microsoft.com/office/officeart/2005/8/layout/orgChart1"/>
    <dgm:cxn modelId="{9B963BAC-7388-A045-A44E-1545D3BA0F00}" type="presOf" srcId="{C3ACB4D6-7889-774B-A5F7-FFA378C074CF}" destId="{A9018DA5-07A6-1047-8906-D5CEBD268137}" srcOrd="1" destOrd="0" presId="urn:microsoft.com/office/officeart/2005/8/layout/orgChart1"/>
    <dgm:cxn modelId="{B4DE970C-DE21-8641-9968-56CF06D431C3}" type="presOf" srcId="{11B5AD18-48FD-6A4B-A82C-B8D0882BDFD5}" destId="{7C50BECD-9391-C544-9079-7DCA06B1B106}" srcOrd="0" destOrd="0" presId="urn:microsoft.com/office/officeart/2005/8/layout/orgChart1"/>
    <dgm:cxn modelId="{A4E533E0-FBA3-5842-8063-634DDFCB3955}" type="presOf" srcId="{411D2A1A-9B4A-674A-B93D-2C923CBCDFDB}" destId="{6440B106-7C72-9547-AE5A-A590A6A7292B}" srcOrd="0" destOrd="0" presId="urn:microsoft.com/office/officeart/2005/8/layout/orgChart1"/>
    <dgm:cxn modelId="{8AC46CB5-F013-4A44-95CF-D2727866483A}" type="presParOf" srcId="{30607E5D-7EC8-8446-AD48-AEEC633315C8}" destId="{01768E30-7C00-9D46-B106-9803EF77DB72}" srcOrd="0" destOrd="0" presId="urn:microsoft.com/office/officeart/2005/8/layout/orgChart1"/>
    <dgm:cxn modelId="{14DCDC93-8836-C44C-BA1F-0CBB5712F787}" type="presParOf" srcId="{01768E30-7C00-9D46-B106-9803EF77DB72}" destId="{37E44035-6D06-FE4D-927A-CD14E98DC4F7}" srcOrd="0" destOrd="0" presId="urn:microsoft.com/office/officeart/2005/8/layout/orgChart1"/>
    <dgm:cxn modelId="{5B910CEC-7542-3641-9027-7F7AB54063A7}" type="presParOf" srcId="{37E44035-6D06-FE4D-927A-CD14E98DC4F7}" destId="{06637420-A86F-4644-990A-75D86B7E454C}" srcOrd="0" destOrd="0" presId="urn:microsoft.com/office/officeart/2005/8/layout/orgChart1"/>
    <dgm:cxn modelId="{0D7B9DA4-2528-404D-8904-7837FA450418}" type="presParOf" srcId="{37E44035-6D06-FE4D-927A-CD14E98DC4F7}" destId="{466535D8-AEE6-1D47-974F-880041EEEAA5}" srcOrd="1" destOrd="0" presId="urn:microsoft.com/office/officeart/2005/8/layout/orgChart1"/>
    <dgm:cxn modelId="{56196A86-2B98-0B41-9889-C7954FC0676B}" type="presParOf" srcId="{01768E30-7C00-9D46-B106-9803EF77DB72}" destId="{C176592F-E087-B04D-9588-EF6FC2F92869}" srcOrd="1" destOrd="0" presId="urn:microsoft.com/office/officeart/2005/8/layout/orgChart1"/>
    <dgm:cxn modelId="{A4F0791F-A211-624D-83C9-BFDB68165A31}" type="presParOf" srcId="{C176592F-E087-B04D-9588-EF6FC2F92869}" destId="{0F5D9B2B-0CE6-4D47-A7B6-80BAEBDC59FC}" srcOrd="0" destOrd="0" presId="urn:microsoft.com/office/officeart/2005/8/layout/orgChart1"/>
    <dgm:cxn modelId="{3EE7BFD4-D9BE-3349-9C81-07AAA16E9DE9}" type="presParOf" srcId="{C176592F-E087-B04D-9588-EF6FC2F92869}" destId="{0F65DF5F-EBEB-B343-9794-35C42F4DC89D}" srcOrd="1" destOrd="0" presId="urn:microsoft.com/office/officeart/2005/8/layout/orgChart1"/>
    <dgm:cxn modelId="{048FBBB4-EBB3-D149-BB8B-C0FCB87F301B}" type="presParOf" srcId="{0F65DF5F-EBEB-B343-9794-35C42F4DC89D}" destId="{D29FBFF0-EB79-0F4F-8C4A-4AF2BBB0A047}" srcOrd="0" destOrd="0" presId="urn:microsoft.com/office/officeart/2005/8/layout/orgChart1"/>
    <dgm:cxn modelId="{EDCD70B0-8874-B246-8DD8-86A9A08C4179}" type="presParOf" srcId="{D29FBFF0-EB79-0F4F-8C4A-4AF2BBB0A047}" destId="{91D7ADA8-1475-9349-913E-9C2D53C1D7C9}" srcOrd="0" destOrd="0" presId="urn:microsoft.com/office/officeart/2005/8/layout/orgChart1"/>
    <dgm:cxn modelId="{85B23854-CF9B-5E4D-967D-13A519196CD3}" type="presParOf" srcId="{D29FBFF0-EB79-0F4F-8C4A-4AF2BBB0A047}" destId="{A7DBADC9-C072-5C48-A3E3-552A2F42BAEE}" srcOrd="1" destOrd="0" presId="urn:microsoft.com/office/officeart/2005/8/layout/orgChart1"/>
    <dgm:cxn modelId="{97DCD6D6-1633-144D-B20A-275D27F1AB89}" type="presParOf" srcId="{0F65DF5F-EBEB-B343-9794-35C42F4DC89D}" destId="{69158542-B581-0247-BAE6-60E62584FEB9}" srcOrd="1" destOrd="0" presId="urn:microsoft.com/office/officeart/2005/8/layout/orgChart1"/>
    <dgm:cxn modelId="{874434B8-13E9-F945-85BA-6A8B9F99E800}" type="presParOf" srcId="{69158542-B581-0247-BAE6-60E62584FEB9}" destId="{44E963F3-2784-9E43-9E90-000EB562AE2A}" srcOrd="0" destOrd="0" presId="urn:microsoft.com/office/officeart/2005/8/layout/orgChart1"/>
    <dgm:cxn modelId="{291038B3-6427-7C44-AD4F-E13446031646}" type="presParOf" srcId="{69158542-B581-0247-BAE6-60E62584FEB9}" destId="{53955494-3838-2F45-BEBB-CE94816E60BA}" srcOrd="1" destOrd="0" presId="urn:microsoft.com/office/officeart/2005/8/layout/orgChart1"/>
    <dgm:cxn modelId="{D53EA42D-7B81-0C4C-8179-A97929338539}" type="presParOf" srcId="{53955494-3838-2F45-BEBB-CE94816E60BA}" destId="{282371C0-CB9F-F142-BFE4-23129E24152E}" srcOrd="0" destOrd="0" presId="urn:microsoft.com/office/officeart/2005/8/layout/orgChart1"/>
    <dgm:cxn modelId="{E9BCD463-6B98-624E-A50D-E1650ABA5D79}" type="presParOf" srcId="{282371C0-CB9F-F142-BFE4-23129E24152E}" destId="{2ED78204-93EC-064C-823A-1586CD82394C}" srcOrd="0" destOrd="0" presId="urn:microsoft.com/office/officeart/2005/8/layout/orgChart1"/>
    <dgm:cxn modelId="{702830F3-B15D-EC4B-B8D3-CE01E0134DEA}" type="presParOf" srcId="{282371C0-CB9F-F142-BFE4-23129E24152E}" destId="{36770380-7547-ED48-AB39-E00707E5AE49}" srcOrd="1" destOrd="0" presId="urn:microsoft.com/office/officeart/2005/8/layout/orgChart1"/>
    <dgm:cxn modelId="{6BD7534C-4AB3-BF40-84DE-BC85DF48CF35}" type="presParOf" srcId="{53955494-3838-2F45-BEBB-CE94816E60BA}" destId="{7FD810D4-2EE4-0A43-B7CD-AE490DD9C8B4}" srcOrd="1" destOrd="0" presId="urn:microsoft.com/office/officeart/2005/8/layout/orgChart1"/>
    <dgm:cxn modelId="{A868ABD8-3811-6140-B0DA-D27D62A55A21}" type="presParOf" srcId="{53955494-3838-2F45-BEBB-CE94816E60BA}" destId="{A06DA4CD-7588-714E-AB31-0B7105F724FF}" srcOrd="2" destOrd="0" presId="urn:microsoft.com/office/officeart/2005/8/layout/orgChart1"/>
    <dgm:cxn modelId="{2FC25FB8-58B8-4141-96D8-B04CEAAB9CD9}" type="presParOf" srcId="{69158542-B581-0247-BAE6-60E62584FEB9}" destId="{88E2A4D5-E62D-B048-BDF2-2627D68216CE}" srcOrd="2" destOrd="0" presId="urn:microsoft.com/office/officeart/2005/8/layout/orgChart1"/>
    <dgm:cxn modelId="{E76BA884-E0D2-0B41-AB51-A86C7C5B98B9}" type="presParOf" srcId="{69158542-B581-0247-BAE6-60E62584FEB9}" destId="{C7C9DA51-6B03-C94F-93CB-D44D3137A8B1}" srcOrd="3" destOrd="0" presId="urn:microsoft.com/office/officeart/2005/8/layout/orgChart1"/>
    <dgm:cxn modelId="{A6B9ED25-6208-E648-B77D-724CBC38E31E}" type="presParOf" srcId="{C7C9DA51-6B03-C94F-93CB-D44D3137A8B1}" destId="{CCCCC64E-4161-4D41-9593-1A4F78C7EF17}" srcOrd="0" destOrd="0" presId="urn:microsoft.com/office/officeart/2005/8/layout/orgChart1"/>
    <dgm:cxn modelId="{6C855B23-C77A-C04A-B955-23509EE612AB}" type="presParOf" srcId="{CCCCC64E-4161-4D41-9593-1A4F78C7EF17}" destId="{3B98D480-5A9A-0A4D-8BDC-FE216FA48EE4}" srcOrd="0" destOrd="0" presId="urn:microsoft.com/office/officeart/2005/8/layout/orgChart1"/>
    <dgm:cxn modelId="{DF7BACB9-FAF1-1E47-A529-863A6EA9A526}" type="presParOf" srcId="{CCCCC64E-4161-4D41-9593-1A4F78C7EF17}" destId="{CCA6A030-3016-FB4D-BB2D-797B6CA6511F}" srcOrd="1" destOrd="0" presId="urn:microsoft.com/office/officeart/2005/8/layout/orgChart1"/>
    <dgm:cxn modelId="{CB8C22BA-318D-BA4B-99E1-322F37770B26}" type="presParOf" srcId="{C7C9DA51-6B03-C94F-93CB-D44D3137A8B1}" destId="{893D50E5-BFD6-374D-B623-8C8F06D30FB9}" srcOrd="1" destOrd="0" presId="urn:microsoft.com/office/officeart/2005/8/layout/orgChart1"/>
    <dgm:cxn modelId="{35B07D7B-5184-E34E-B702-3A468B1A7FD7}" type="presParOf" srcId="{C7C9DA51-6B03-C94F-93CB-D44D3137A8B1}" destId="{9A169D03-FEAA-964F-82BE-17DF2B44F83D}" srcOrd="2" destOrd="0" presId="urn:microsoft.com/office/officeart/2005/8/layout/orgChart1"/>
    <dgm:cxn modelId="{BC80163A-05FA-7B49-AF93-2613812F8C15}" type="presParOf" srcId="{69158542-B581-0247-BAE6-60E62584FEB9}" destId="{CDA8158C-1C6B-024B-9E64-1510DD2C7A55}" srcOrd="4" destOrd="0" presId="urn:microsoft.com/office/officeart/2005/8/layout/orgChart1"/>
    <dgm:cxn modelId="{4A3F63EF-F2E0-0845-8572-4FF4944131EC}" type="presParOf" srcId="{69158542-B581-0247-BAE6-60E62584FEB9}" destId="{86D1A16A-2EDC-7B49-BDD5-ADA121CED2D3}" srcOrd="5" destOrd="0" presId="urn:microsoft.com/office/officeart/2005/8/layout/orgChart1"/>
    <dgm:cxn modelId="{F9DF85A8-62C4-F344-97B0-9857832B411C}" type="presParOf" srcId="{86D1A16A-2EDC-7B49-BDD5-ADA121CED2D3}" destId="{64FB60A2-29ED-0C42-82BE-AEF32C4DEBD0}" srcOrd="0" destOrd="0" presId="urn:microsoft.com/office/officeart/2005/8/layout/orgChart1"/>
    <dgm:cxn modelId="{5BA74FEB-F270-A34C-ACD1-D3275CD35D51}" type="presParOf" srcId="{64FB60A2-29ED-0C42-82BE-AEF32C4DEBD0}" destId="{2C0E0A56-4821-5340-9545-5653DBEF3E82}" srcOrd="0" destOrd="0" presId="urn:microsoft.com/office/officeart/2005/8/layout/orgChart1"/>
    <dgm:cxn modelId="{CAB9E899-EF84-7F41-8B6D-420F2E1347EB}" type="presParOf" srcId="{64FB60A2-29ED-0C42-82BE-AEF32C4DEBD0}" destId="{10D8D681-CBDA-D246-9198-063E1F1463D5}" srcOrd="1" destOrd="0" presId="urn:microsoft.com/office/officeart/2005/8/layout/orgChart1"/>
    <dgm:cxn modelId="{0C493A7F-F60A-D34C-8860-A399EF6D6AE7}" type="presParOf" srcId="{86D1A16A-2EDC-7B49-BDD5-ADA121CED2D3}" destId="{CC9BABF7-5A8C-E043-A639-9D9F60E49EB2}" srcOrd="1" destOrd="0" presId="urn:microsoft.com/office/officeart/2005/8/layout/orgChart1"/>
    <dgm:cxn modelId="{C74F1B97-0CC0-6344-B127-F6AEC83F92F3}" type="presParOf" srcId="{86D1A16A-2EDC-7B49-BDD5-ADA121CED2D3}" destId="{CE13E513-7EF6-3C4A-BF03-7E569F8E0EFD}" srcOrd="2" destOrd="0" presId="urn:microsoft.com/office/officeart/2005/8/layout/orgChart1"/>
    <dgm:cxn modelId="{BCB3BB17-8AE7-104E-B75F-3F040A3537E4}" type="presParOf" srcId="{0F65DF5F-EBEB-B343-9794-35C42F4DC89D}" destId="{99494E59-30AF-C84C-8FAD-74D70922C5BB}" srcOrd="2" destOrd="0" presId="urn:microsoft.com/office/officeart/2005/8/layout/orgChart1"/>
    <dgm:cxn modelId="{38C77469-2696-EB4A-85CB-12DC65725FAE}" type="presParOf" srcId="{C176592F-E087-B04D-9588-EF6FC2F92869}" destId="{6AB3DB73-5383-E944-8E93-5490DBAC07ED}" srcOrd="2" destOrd="0" presId="urn:microsoft.com/office/officeart/2005/8/layout/orgChart1"/>
    <dgm:cxn modelId="{9F1AB465-1A16-3D4A-8A0E-D221162B394B}" type="presParOf" srcId="{C176592F-E087-B04D-9588-EF6FC2F92869}" destId="{063E0CF9-7144-D34B-96D0-290257049F24}" srcOrd="3" destOrd="0" presId="urn:microsoft.com/office/officeart/2005/8/layout/orgChart1"/>
    <dgm:cxn modelId="{D461ADD2-7A9D-A146-BE72-E3C283394EB4}" type="presParOf" srcId="{063E0CF9-7144-D34B-96D0-290257049F24}" destId="{9D7957A4-BCF4-A64B-9FA8-89318DD7C26C}" srcOrd="0" destOrd="0" presId="urn:microsoft.com/office/officeart/2005/8/layout/orgChart1"/>
    <dgm:cxn modelId="{9165D561-8A05-584E-BB14-B829CA84462C}" type="presParOf" srcId="{9D7957A4-BCF4-A64B-9FA8-89318DD7C26C}" destId="{6A1B3FF2-4302-AB42-9144-D0C7AF33189D}" srcOrd="0" destOrd="0" presId="urn:microsoft.com/office/officeart/2005/8/layout/orgChart1"/>
    <dgm:cxn modelId="{ABC8FBA4-5858-0646-8A9E-AA1B1DADDA3C}" type="presParOf" srcId="{9D7957A4-BCF4-A64B-9FA8-89318DD7C26C}" destId="{A8476105-19F1-B646-B233-7DFE7667D28F}" srcOrd="1" destOrd="0" presId="urn:microsoft.com/office/officeart/2005/8/layout/orgChart1"/>
    <dgm:cxn modelId="{1E16449F-2F82-944B-A33F-42D2B5631BF1}" type="presParOf" srcId="{063E0CF9-7144-D34B-96D0-290257049F24}" destId="{DB85212C-909C-BE4F-9C57-AA092C9F8F68}" srcOrd="1" destOrd="0" presId="urn:microsoft.com/office/officeart/2005/8/layout/orgChart1"/>
    <dgm:cxn modelId="{F76FA22E-ADA3-E449-BB16-8175B838C83B}" type="presParOf" srcId="{DB85212C-909C-BE4F-9C57-AA092C9F8F68}" destId="{FCB70BC6-8BC2-7740-8498-E09039141FAE}" srcOrd="0" destOrd="0" presId="urn:microsoft.com/office/officeart/2005/8/layout/orgChart1"/>
    <dgm:cxn modelId="{94806643-4A48-6541-B8B0-2C6A0FDAC8B0}" type="presParOf" srcId="{DB85212C-909C-BE4F-9C57-AA092C9F8F68}" destId="{8A2CB56E-93D1-874C-81A9-9FAC0DA015D2}" srcOrd="1" destOrd="0" presId="urn:microsoft.com/office/officeart/2005/8/layout/orgChart1"/>
    <dgm:cxn modelId="{C51EC240-FA42-7645-B987-3F635DFCA31C}" type="presParOf" srcId="{8A2CB56E-93D1-874C-81A9-9FAC0DA015D2}" destId="{56803695-D01D-974E-959F-E4FC5996044F}" srcOrd="0" destOrd="0" presId="urn:microsoft.com/office/officeart/2005/8/layout/orgChart1"/>
    <dgm:cxn modelId="{9F55E3F5-013C-B946-A337-E6DC064BA9B4}" type="presParOf" srcId="{56803695-D01D-974E-959F-E4FC5996044F}" destId="{22959F47-69F7-D445-9334-5C7C176A2653}" srcOrd="0" destOrd="0" presId="urn:microsoft.com/office/officeart/2005/8/layout/orgChart1"/>
    <dgm:cxn modelId="{B5B8460D-7E42-CE44-8269-B57C82B742A1}" type="presParOf" srcId="{56803695-D01D-974E-959F-E4FC5996044F}" destId="{8C060B5F-BBBF-2049-9E6B-A69B2A074D8E}" srcOrd="1" destOrd="0" presId="urn:microsoft.com/office/officeart/2005/8/layout/orgChart1"/>
    <dgm:cxn modelId="{4168FEDD-9453-354A-9DED-AE2F278DD1F3}" type="presParOf" srcId="{8A2CB56E-93D1-874C-81A9-9FAC0DA015D2}" destId="{175F2BE5-9841-E24D-8258-D4DAB9588C96}" srcOrd="1" destOrd="0" presId="urn:microsoft.com/office/officeart/2005/8/layout/orgChart1"/>
    <dgm:cxn modelId="{69C41BDE-1DD2-AB44-B791-CDD43DE5DBD9}" type="presParOf" srcId="{8A2CB56E-93D1-874C-81A9-9FAC0DA015D2}" destId="{6C96FA0A-0A57-4A45-A656-B89BDED585EB}" srcOrd="2" destOrd="0" presId="urn:microsoft.com/office/officeart/2005/8/layout/orgChart1"/>
    <dgm:cxn modelId="{F16FA8A8-B5E9-E048-9C49-6D053046C0D5}" type="presParOf" srcId="{DB85212C-909C-BE4F-9C57-AA092C9F8F68}" destId="{6CD5F04D-881E-FF45-840F-9065F725359E}" srcOrd="2" destOrd="0" presId="urn:microsoft.com/office/officeart/2005/8/layout/orgChart1"/>
    <dgm:cxn modelId="{31E7858C-563E-D340-A7C0-75A8AD6CDB99}" type="presParOf" srcId="{DB85212C-909C-BE4F-9C57-AA092C9F8F68}" destId="{EEB1F1F6-A420-3B4D-83C3-44A0874B3872}" srcOrd="3" destOrd="0" presId="urn:microsoft.com/office/officeart/2005/8/layout/orgChart1"/>
    <dgm:cxn modelId="{12C3A7C8-E3CA-9A42-8118-EE07853580A4}" type="presParOf" srcId="{EEB1F1F6-A420-3B4D-83C3-44A0874B3872}" destId="{866BA078-C3D3-2F4C-A7CC-2903AAEBC56E}" srcOrd="0" destOrd="0" presId="urn:microsoft.com/office/officeart/2005/8/layout/orgChart1"/>
    <dgm:cxn modelId="{B92576AA-206C-3B4D-9ABD-16945E6E447A}" type="presParOf" srcId="{866BA078-C3D3-2F4C-A7CC-2903AAEBC56E}" destId="{35471471-CB84-0746-BDD4-1655B6C5471A}" srcOrd="0" destOrd="0" presId="urn:microsoft.com/office/officeart/2005/8/layout/orgChart1"/>
    <dgm:cxn modelId="{CE4371B0-76BC-7745-8C1F-9E316D099663}" type="presParOf" srcId="{866BA078-C3D3-2F4C-A7CC-2903AAEBC56E}" destId="{BF48F31E-442A-8542-BEC6-8A1283ECC0DC}" srcOrd="1" destOrd="0" presId="urn:microsoft.com/office/officeart/2005/8/layout/orgChart1"/>
    <dgm:cxn modelId="{891759EA-B2B1-9245-BC1E-D1A314F0ED92}" type="presParOf" srcId="{EEB1F1F6-A420-3B4D-83C3-44A0874B3872}" destId="{2F554D91-DC1D-3A4B-BD01-7DD0FBADA47A}" srcOrd="1" destOrd="0" presId="urn:microsoft.com/office/officeart/2005/8/layout/orgChart1"/>
    <dgm:cxn modelId="{FC13EFF1-6EF9-5E46-A338-6FA80F7255A4}" type="presParOf" srcId="{EEB1F1F6-A420-3B4D-83C3-44A0874B3872}" destId="{5C57C97C-2160-274D-A8EF-85D36B4657F0}" srcOrd="2" destOrd="0" presId="urn:microsoft.com/office/officeart/2005/8/layout/orgChart1"/>
    <dgm:cxn modelId="{783F741F-EA24-5B4D-95A9-BF607AE7A16E}" type="presParOf" srcId="{DB85212C-909C-BE4F-9C57-AA092C9F8F68}" destId="{2DC6FEB6-D342-A148-B4E4-3574392637D2}" srcOrd="4" destOrd="0" presId="urn:microsoft.com/office/officeart/2005/8/layout/orgChart1"/>
    <dgm:cxn modelId="{7377BC4C-2608-AA40-9937-B063E40C414F}" type="presParOf" srcId="{DB85212C-909C-BE4F-9C57-AA092C9F8F68}" destId="{E7C14A77-D7F1-1E41-9F22-78FC6F14D5DD}" srcOrd="5" destOrd="0" presId="urn:microsoft.com/office/officeart/2005/8/layout/orgChart1"/>
    <dgm:cxn modelId="{446BEE0A-0983-4144-ABA0-1415DFDE990B}" type="presParOf" srcId="{E7C14A77-D7F1-1E41-9F22-78FC6F14D5DD}" destId="{345D217C-C154-0B4F-9496-F18800B28FFF}" srcOrd="0" destOrd="0" presId="urn:microsoft.com/office/officeart/2005/8/layout/orgChart1"/>
    <dgm:cxn modelId="{56CE0902-4941-AE44-942C-C8CD80AAB89E}" type="presParOf" srcId="{345D217C-C154-0B4F-9496-F18800B28FFF}" destId="{9276651D-6194-EA49-8E09-02C1BFFFA9D5}" srcOrd="0" destOrd="0" presId="urn:microsoft.com/office/officeart/2005/8/layout/orgChart1"/>
    <dgm:cxn modelId="{29F05915-76D6-224F-8646-E3B6E09CF34D}" type="presParOf" srcId="{345D217C-C154-0B4F-9496-F18800B28FFF}" destId="{CD5ED238-8A46-9548-AD80-16CB05272A14}" srcOrd="1" destOrd="0" presId="urn:microsoft.com/office/officeart/2005/8/layout/orgChart1"/>
    <dgm:cxn modelId="{5A13F693-09EC-FA42-8A51-35B3B75F42CC}" type="presParOf" srcId="{E7C14A77-D7F1-1E41-9F22-78FC6F14D5DD}" destId="{BDC06036-AFEF-8F4C-A1E3-0138032EDE75}" srcOrd="1" destOrd="0" presId="urn:microsoft.com/office/officeart/2005/8/layout/orgChart1"/>
    <dgm:cxn modelId="{6AA31886-CD18-9247-9BF1-2E34F204FF62}" type="presParOf" srcId="{E7C14A77-D7F1-1E41-9F22-78FC6F14D5DD}" destId="{F44A321D-F93F-1847-9AAA-56093CB8396B}" srcOrd="2" destOrd="0" presId="urn:microsoft.com/office/officeart/2005/8/layout/orgChart1"/>
    <dgm:cxn modelId="{A92F3304-2BBC-9547-BD03-0750431A6A8F}" type="presParOf" srcId="{063E0CF9-7144-D34B-96D0-290257049F24}" destId="{E7AD0A5D-E521-4D48-A5EC-9A4A203AF9D4}" srcOrd="2" destOrd="0" presId="urn:microsoft.com/office/officeart/2005/8/layout/orgChart1"/>
    <dgm:cxn modelId="{D3E4CDCE-541F-3148-8CF2-D861CE29CE7E}" type="presParOf" srcId="{C176592F-E087-B04D-9588-EF6FC2F92869}" destId="{910491EA-604E-6842-9866-DF2E9CD33930}" srcOrd="4" destOrd="0" presId="urn:microsoft.com/office/officeart/2005/8/layout/orgChart1"/>
    <dgm:cxn modelId="{759E00B7-1477-CC47-BA6F-B755F13B1EB2}" type="presParOf" srcId="{C176592F-E087-B04D-9588-EF6FC2F92869}" destId="{4F6E76D3-53FC-9B40-84F9-F7C25AED53E4}" srcOrd="5" destOrd="0" presId="urn:microsoft.com/office/officeart/2005/8/layout/orgChart1"/>
    <dgm:cxn modelId="{3E21CD2C-40BE-C640-82E2-5378BD5620B8}" type="presParOf" srcId="{4F6E76D3-53FC-9B40-84F9-F7C25AED53E4}" destId="{71838188-1DD8-7345-B5E8-F0FD31F9988C}" srcOrd="0" destOrd="0" presId="urn:microsoft.com/office/officeart/2005/8/layout/orgChart1"/>
    <dgm:cxn modelId="{81F6BFC9-3EEB-6E4A-B3F5-1CCCC8E131D1}" type="presParOf" srcId="{71838188-1DD8-7345-B5E8-F0FD31F9988C}" destId="{C98D4C05-6DFD-F848-8831-CA53C562EFA9}" srcOrd="0" destOrd="0" presId="urn:microsoft.com/office/officeart/2005/8/layout/orgChart1"/>
    <dgm:cxn modelId="{41387C0F-F214-2948-B43A-3BA1C11F2B92}" type="presParOf" srcId="{71838188-1DD8-7345-B5E8-F0FD31F9988C}" destId="{8249A152-56BE-E046-8A45-0C56C7C1D191}" srcOrd="1" destOrd="0" presId="urn:microsoft.com/office/officeart/2005/8/layout/orgChart1"/>
    <dgm:cxn modelId="{4FECAB5A-007A-0540-87FB-88688A1DB0E6}" type="presParOf" srcId="{4F6E76D3-53FC-9B40-84F9-F7C25AED53E4}" destId="{936D50A9-CCB4-4945-945B-85E46E6A9010}" srcOrd="1" destOrd="0" presId="urn:microsoft.com/office/officeart/2005/8/layout/orgChart1"/>
    <dgm:cxn modelId="{138D2C3D-A061-BA4B-8158-0074BF4CC72E}" type="presParOf" srcId="{936D50A9-CCB4-4945-945B-85E46E6A9010}" destId="{D62CB30F-6901-594F-8775-B46F34227BC9}" srcOrd="0" destOrd="0" presId="urn:microsoft.com/office/officeart/2005/8/layout/orgChart1"/>
    <dgm:cxn modelId="{6090E4CD-85B8-1E4A-A27D-D7C28F82D57C}" type="presParOf" srcId="{936D50A9-CCB4-4945-945B-85E46E6A9010}" destId="{2A1E62F8-D51C-B44A-BD70-E6C65A68DCCB}" srcOrd="1" destOrd="0" presId="urn:microsoft.com/office/officeart/2005/8/layout/orgChart1"/>
    <dgm:cxn modelId="{0556FCAB-E196-0B4E-B267-0126BA46E6FC}" type="presParOf" srcId="{2A1E62F8-D51C-B44A-BD70-E6C65A68DCCB}" destId="{F9703759-1D98-084A-B066-79D5FA0B0817}" srcOrd="0" destOrd="0" presId="urn:microsoft.com/office/officeart/2005/8/layout/orgChart1"/>
    <dgm:cxn modelId="{B3FA6BCE-BEA6-4E40-BE73-A2A56335A085}" type="presParOf" srcId="{F9703759-1D98-084A-B066-79D5FA0B0817}" destId="{7AAAE15D-9C55-1D43-B8B7-B04F0D48EABD}" srcOrd="0" destOrd="0" presId="urn:microsoft.com/office/officeart/2005/8/layout/orgChart1"/>
    <dgm:cxn modelId="{30154A2F-A689-5A43-8BA5-84DA2A76D9B4}" type="presParOf" srcId="{F9703759-1D98-084A-B066-79D5FA0B0817}" destId="{C8CB1346-EB34-094E-8B3A-28042614FB03}" srcOrd="1" destOrd="0" presId="urn:microsoft.com/office/officeart/2005/8/layout/orgChart1"/>
    <dgm:cxn modelId="{6F38AB2F-F05F-7A40-8E15-309B8D66C908}" type="presParOf" srcId="{2A1E62F8-D51C-B44A-BD70-E6C65A68DCCB}" destId="{C07159A7-2612-CB43-B1EE-FC2609E7E9AD}" srcOrd="1" destOrd="0" presId="urn:microsoft.com/office/officeart/2005/8/layout/orgChart1"/>
    <dgm:cxn modelId="{9D1E6712-9F7F-8641-A1F9-AFDCB9EB916B}" type="presParOf" srcId="{2A1E62F8-D51C-B44A-BD70-E6C65A68DCCB}" destId="{B9C12C8A-E3B4-7940-B9D7-DB49D619BCB5}" srcOrd="2" destOrd="0" presId="urn:microsoft.com/office/officeart/2005/8/layout/orgChart1"/>
    <dgm:cxn modelId="{939C19A5-174E-784D-BA2F-641B948B9887}" type="presParOf" srcId="{936D50A9-CCB4-4945-945B-85E46E6A9010}" destId="{129F0079-A483-7E48-A321-97C36DBA0475}" srcOrd="2" destOrd="0" presId="urn:microsoft.com/office/officeart/2005/8/layout/orgChart1"/>
    <dgm:cxn modelId="{66398574-1654-5B4E-B9E8-CFD1AE6A6302}" type="presParOf" srcId="{936D50A9-CCB4-4945-945B-85E46E6A9010}" destId="{505AFEB6-44FD-0948-86B1-1EBBFB7AD6E8}" srcOrd="3" destOrd="0" presId="urn:microsoft.com/office/officeart/2005/8/layout/orgChart1"/>
    <dgm:cxn modelId="{FC19DD0B-AF89-E34A-904F-2BB2688B43AC}" type="presParOf" srcId="{505AFEB6-44FD-0948-86B1-1EBBFB7AD6E8}" destId="{898B3C27-79E5-B94F-AB28-34998FE8B917}" srcOrd="0" destOrd="0" presId="urn:microsoft.com/office/officeart/2005/8/layout/orgChart1"/>
    <dgm:cxn modelId="{B4D3D474-4B71-F241-91B2-9F280DAC1AC5}" type="presParOf" srcId="{898B3C27-79E5-B94F-AB28-34998FE8B917}" destId="{7C50BECD-9391-C544-9079-7DCA06B1B106}" srcOrd="0" destOrd="0" presId="urn:microsoft.com/office/officeart/2005/8/layout/orgChart1"/>
    <dgm:cxn modelId="{F770C75B-A78F-3244-B994-49199226B9AC}" type="presParOf" srcId="{898B3C27-79E5-B94F-AB28-34998FE8B917}" destId="{35D57237-8BFB-E945-A7A7-3C3A20E1DD9C}" srcOrd="1" destOrd="0" presId="urn:microsoft.com/office/officeart/2005/8/layout/orgChart1"/>
    <dgm:cxn modelId="{E0C6CF1E-034E-C541-BFB7-49CD983D176A}" type="presParOf" srcId="{505AFEB6-44FD-0948-86B1-1EBBFB7AD6E8}" destId="{9742A4E0-8FBD-7543-97A8-E98A936FD000}" srcOrd="1" destOrd="0" presId="urn:microsoft.com/office/officeart/2005/8/layout/orgChart1"/>
    <dgm:cxn modelId="{8E003B59-A66B-3048-93BD-DD82BC41F466}" type="presParOf" srcId="{505AFEB6-44FD-0948-86B1-1EBBFB7AD6E8}" destId="{7BE38307-1708-2D4C-8A04-E67A64FA40B2}" srcOrd="2" destOrd="0" presId="urn:microsoft.com/office/officeart/2005/8/layout/orgChart1"/>
    <dgm:cxn modelId="{D2EB20E2-7665-3B40-97AF-C4A5B49C8ED6}" type="presParOf" srcId="{936D50A9-CCB4-4945-945B-85E46E6A9010}" destId="{5030E2EE-B0D1-364F-B6DF-876E246B6AE1}" srcOrd="4" destOrd="0" presId="urn:microsoft.com/office/officeart/2005/8/layout/orgChart1"/>
    <dgm:cxn modelId="{ABE789EC-1894-AC45-A173-FEFC8C850578}" type="presParOf" srcId="{936D50A9-CCB4-4945-945B-85E46E6A9010}" destId="{3BF92A3B-B68B-8F4A-ACDB-61F48235A59F}" srcOrd="5" destOrd="0" presId="urn:microsoft.com/office/officeart/2005/8/layout/orgChart1"/>
    <dgm:cxn modelId="{B98A471F-F886-5049-8484-76B46D5D7B5C}" type="presParOf" srcId="{3BF92A3B-B68B-8F4A-ACDB-61F48235A59F}" destId="{B998F742-4147-FB46-B213-304B069DACB0}" srcOrd="0" destOrd="0" presId="urn:microsoft.com/office/officeart/2005/8/layout/orgChart1"/>
    <dgm:cxn modelId="{F7CEDF57-B72A-C745-8DC9-C45295EC320D}" type="presParOf" srcId="{B998F742-4147-FB46-B213-304B069DACB0}" destId="{C8DB6E88-65AB-3947-BF5E-D30F973C203C}" srcOrd="0" destOrd="0" presId="urn:microsoft.com/office/officeart/2005/8/layout/orgChart1"/>
    <dgm:cxn modelId="{477C8342-A447-5747-AE27-7A75C8DA57B7}" type="presParOf" srcId="{B998F742-4147-FB46-B213-304B069DACB0}" destId="{62108426-B799-194D-AB78-22283909E5A2}" srcOrd="1" destOrd="0" presId="urn:microsoft.com/office/officeart/2005/8/layout/orgChart1"/>
    <dgm:cxn modelId="{66073445-DAF6-7C47-94E2-7471BF9CC77F}" type="presParOf" srcId="{3BF92A3B-B68B-8F4A-ACDB-61F48235A59F}" destId="{60AB16CA-A0FA-E548-A598-8F4F677A192B}" srcOrd="1" destOrd="0" presId="urn:microsoft.com/office/officeart/2005/8/layout/orgChart1"/>
    <dgm:cxn modelId="{940B9E94-5BC5-F344-BE14-61CDDDE049A9}" type="presParOf" srcId="{3BF92A3B-B68B-8F4A-ACDB-61F48235A59F}" destId="{360B2E77-F622-5945-8392-2B887285C669}" srcOrd="2" destOrd="0" presId="urn:microsoft.com/office/officeart/2005/8/layout/orgChart1"/>
    <dgm:cxn modelId="{BC0E46A0-24B1-5F42-9FC7-68634B6135A1}" type="presParOf" srcId="{4F6E76D3-53FC-9B40-84F9-F7C25AED53E4}" destId="{0E88A329-C564-C840-B127-2181CD7549E6}" srcOrd="2" destOrd="0" presId="urn:microsoft.com/office/officeart/2005/8/layout/orgChart1"/>
    <dgm:cxn modelId="{55EE5DF4-633C-2E44-A095-2E433FCCD799}" type="presParOf" srcId="{C176592F-E087-B04D-9588-EF6FC2F92869}" destId="{323D0151-0AF0-7A44-BCE6-C10462839127}" srcOrd="6" destOrd="0" presId="urn:microsoft.com/office/officeart/2005/8/layout/orgChart1"/>
    <dgm:cxn modelId="{E46B3C92-AE99-E546-811C-5158A0F81C7E}" type="presParOf" srcId="{C176592F-E087-B04D-9588-EF6FC2F92869}" destId="{C0502B14-1B52-7042-ACC0-DA1514170E49}" srcOrd="7" destOrd="0" presId="urn:microsoft.com/office/officeart/2005/8/layout/orgChart1"/>
    <dgm:cxn modelId="{4EC56D85-5734-E046-8CD9-CFEE4F34D396}" type="presParOf" srcId="{C0502B14-1B52-7042-ACC0-DA1514170E49}" destId="{124E14D1-547A-F840-A53B-8C32D7C0E093}" srcOrd="0" destOrd="0" presId="urn:microsoft.com/office/officeart/2005/8/layout/orgChart1"/>
    <dgm:cxn modelId="{FE4205F6-08F8-494A-B8CE-09409D7A5599}" type="presParOf" srcId="{124E14D1-547A-F840-A53B-8C32D7C0E093}" destId="{F63DB975-E825-ED40-9ED5-8EF8047133DC}" srcOrd="0" destOrd="0" presId="urn:microsoft.com/office/officeart/2005/8/layout/orgChart1"/>
    <dgm:cxn modelId="{666019FC-A5A3-8A42-8CF7-EA07C1DF5675}" type="presParOf" srcId="{124E14D1-547A-F840-A53B-8C32D7C0E093}" destId="{448BE257-6BD3-154B-8455-7442213A9C1F}" srcOrd="1" destOrd="0" presId="urn:microsoft.com/office/officeart/2005/8/layout/orgChart1"/>
    <dgm:cxn modelId="{7A45D195-34E0-454E-AA54-9AD8E5B1342A}" type="presParOf" srcId="{C0502B14-1B52-7042-ACC0-DA1514170E49}" destId="{068F8C37-46EE-4847-A292-C25509F10E4F}" srcOrd="1" destOrd="0" presId="urn:microsoft.com/office/officeart/2005/8/layout/orgChart1"/>
    <dgm:cxn modelId="{CA59D2D8-41CE-5249-97FE-77C361EB6E54}" type="presParOf" srcId="{068F8C37-46EE-4847-A292-C25509F10E4F}" destId="{7B5B0F12-5DDA-9943-9092-2A10F2FE9601}" srcOrd="0" destOrd="0" presId="urn:microsoft.com/office/officeart/2005/8/layout/orgChart1"/>
    <dgm:cxn modelId="{3B5D5AB8-18E8-3949-81F4-CFB68CAD47E0}" type="presParOf" srcId="{068F8C37-46EE-4847-A292-C25509F10E4F}" destId="{416A776B-95CC-6242-82B8-F3477537D01B}" srcOrd="1" destOrd="0" presId="urn:microsoft.com/office/officeart/2005/8/layout/orgChart1"/>
    <dgm:cxn modelId="{13B5A7FB-1233-6F4C-B473-77E27BF87A57}" type="presParOf" srcId="{416A776B-95CC-6242-82B8-F3477537D01B}" destId="{B3872BE2-32B6-FA4E-AD30-FDDA357E030B}" srcOrd="0" destOrd="0" presId="urn:microsoft.com/office/officeart/2005/8/layout/orgChart1"/>
    <dgm:cxn modelId="{DBA789F3-48A5-9941-863F-0A1D0706AC0F}" type="presParOf" srcId="{B3872BE2-32B6-FA4E-AD30-FDDA357E030B}" destId="{BD45870A-B3FE-4649-A1E8-44ABA898ACEB}" srcOrd="0" destOrd="0" presId="urn:microsoft.com/office/officeart/2005/8/layout/orgChart1"/>
    <dgm:cxn modelId="{312F5FF2-2199-6A4A-B96E-B1C4F202CE4C}" type="presParOf" srcId="{B3872BE2-32B6-FA4E-AD30-FDDA357E030B}" destId="{6D27B739-9A5A-FE45-BC1E-B91110B18E69}" srcOrd="1" destOrd="0" presId="urn:microsoft.com/office/officeart/2005/8/layout/orgChart1"/>
    <dgm:cxn modelId="{58A00D8E-B7D8-1C42-8160-870F6D81A935}" type="presParOf" srcId="{416A776B-95CC-6242-82B8-F3477537D01B}" destId="{E0AA5810-09FE-6F49-9E01-C37893D5B99E}" srcOrd="1" destOrd="0" presId="urn:microsoft.com/office/officeart/2005/8/layout/orgChart1"/>
    <dgm:cxn modelId="{7D01F429-2FF1-DA45-8CA6-33788C6EA4A3}" type="presParOf" srcId="{416A776B-95CC-6242-82B8-F3477537D01B}" destId="{67B38412-62E0-F041-A9A6-EEB827EE7287}" srcOrd="2" destOrd="0" presId="urn:microsoft.com/office/officeart/2005/8/layout/orgChart1"/>
    <dgm:cxn modelId="{D91C5550-2D52-6447-ABA4-91BD333DB309}" type="presParOf" srcId="{068F8C37-46EE-4847-A292-C25509F10E4F}" destId="{4C9BEE53-E580-D245-BCCD-590C85D76065}" srcOrd="2" destOrd="0" presId="urn:microsoft.com/office/officeart/2005/8/layout/orgChart1"/>
    <dgm:cxn modelId="{B37E6800-A19D-6A4A-9786-0E4DA1F3FF52}" type="presParOf" srcId="{068F8C37-46EE-4847-A292-C25509F10E4F}" destId="{084F8B06-8855-B74B-A705-6E163C44E754}" srcOrd="3" destOrd="0" presId="urn:microsoft.com/office/officeart/2005/8/layout/orgChart1"/>
    <dgm:cxn modelId="{26F93396-5BE3-3441-8A1F-3F90C3E93FD3}" type="presParOf" srcId="{084F8B06-8855-B74B-A705-6E163C44E754}" destId="{9EA94B24-EF62-6646-8B44-17764E9A462E}" srcOrd="0" destOrd="0" presId="urn:microsoft.com/office/officeart/2005/8/layout/orgChart1"/>
    <dgm:cxn modelId="{C0780946-2C2A-0344-A1A2-630465DCDCDB}" type="presParOf" srcId="{9EA94B24-EF62-6646-8B44-17764E9A462E}" destId="{667C8B84-66F0-D04D-AF88-0F329C747158}" srcOrd="0" destOrd="0" presId="urn:microsoft.com/office/officeart/2005/8/layout/orgChart1"/>
    <dgm:cxn modelId="{F188ACD1-F018-E747-B3FC-6EC1D97CA6B4}" type="presParOf" srcId="{9EA94B24-EF62-6646-8B44-17764E9A462E}" destId="{C032D471-E31D-BF47-90BC-0B75D3183438}" srcOrd="1" destOrd="0" presId="urn:microsoft.com/office/officeart/2005/8/layout/orgChart1"/>
    <dgm:cxn modelId="{03A8795D-FC71-5940-9B36-F7FECDB8A9CE}" type="presParOf" srcId="{084F8B06-8855-B74B-A705-6E163C44E754}" destId="{50D7A7D7-B247-0241-B930-203B902594B5}" srcOrd="1" destOrd="0" presId="urn:microsoft.com/office/officeart/2005/8/layout/orgChart1"/>
    <dgm:cxn modelId="{B2EA38BE-038F-BB4F-8ADF-CD508E793838}" type="presParOf" srcId="{084F8B06-8855-B74B-A705-6E163C44E754}" destId="{6067EBE2-5843-6D4C-941B-5FB3692E75F9}" srcOrd="2" destOrd="0" presId="urn:microsoft.com/office/officeart/2005/8/layout/orgChart1"/>
    <dgm:cxn modelId="{FDE4051B-509E-164E-B5B5-812B97CFFE10}" type="presParOf" srcId="{068F8C37-46EE-4847-A292-C25509F10E4F}" destId="{EBF62F60-4DCC-6C46-AE65-EDFFE870F1F4}" srcOrd="4" destOrd="0" presId="urn:microsoft.com/office/officeart/2005/8/layout/orgChart1"/>
    <dgm:cxn modelId="{6A130968-8769-634F-9FB1-81C70C0D8F76}" type="presParOf" srcId="{068F8C37-46EE-4847-A292-C25509F10E4F}" destId="{93533B26-364F-014E-A891-6D8442BBCE18}" srcOrd="5" destOrd="0" presId="urn:microsoft.com/office/officeart/2005/8/layout/orgChart1"/>
    <dgm:cxn modelId="{6405237E-6F48-F749-9C89-BF105766E036}" type="presParOf" srcId="{93533B26-364F-014E-A891-6D8442BBCE18}" destId="{DB4AF111-B912-8448-ABAC-05FC566DF87E}" srcOrd="0" destOrd="0" presId="urn:microsoft.com/office/officeart/2005/8/layout/orgChart1"/>
    <dgm:cxn modelId="{D96E1EFF-5C93-E84C-9174-78788602E224}" type="presParOf" srcId="{DB4AF111-B912-8448-ABAC-05FC566DF87E}" destId="{0B86221D-B7E4-B74C-ACB9-8C43A9AE47F7}" srcOrd="0" destOrd="0" presId="urn:microsoft.com/office/officeart/2005/8/layout/orgChart1"/>
    <dgm:cxn modelId="{AD2D4E74-4BA2-C646-B2D4-DD57889BBB91}" type="presParOf" srcId="{DB4AF111-B912-8448-ABAC-05FC566DF87E}" destId="{B9CC71A5-3834-534E-9ECE-601DD70734B2}" srcOrd="1" destOrd="0" presId="urn:microsoft.com/office/officeart/2005/8/layout/orgChart1"/>
    <dgm:cxn modelId="{4E61578A-9FCC-6A4B-8FB7-FD49D639E33D}" type="presParOf" srcId="{93533B26-364F-014E-A891-6D8442BBCE18}" destId="{22A0A11E-34BD-0442-BCA0-44161B492947}" srcOrd="1" destOrd="0" presId="urn:microsoft.com/office/officeart/2005/8/layout/orgChart1"/>
    <dgm:cxn modelId="{979C8D6A-FF1C-FA45-BE93-A6BDCD69407C}" type="presParOf" srcId="{93533B26-364F-014E-A891-6D8442BBCE18}" destId="{A1799FD4-5B2F-1C41-B7C0-8BBFCD6F98DD}" srcOrd="2" destOrd="0" presId="urn:microsoft.com/office/officeart/2005/8/layout/orgChart1"/>
    <dgm:cxn modelId="{1895241D-2936-B049-9539-9805E868F6FC}" type="presParOf" srcId="{C0502B14-1B52-7042-ACC0-DA1514170E49}" destId="{9E34D8F1-0307-C841-BE9B-4EB460341C22}" srcOrd="2" destOrd="0" presId="urn:microsoft.com/office/officeart/2005/8/layout/orgChart1"/>
    <dgm:cxn modelId="{3735ECBC-7C24-2C42-A601-B5E4BC7F3BE8}" type="presParOf" srcId="{C176592F-E087-B04D-9588-EF6FC2F92869}" destId="{1480E8B4-F1B6-8246-9806-7D2D0CB68815}" srcOrd="8" destOrd="0" presId="urn:microsoft.com/office/officeart/2005/8/layout/orgChart1"/>
    <dgm:cxn modelId="{7F278E73-C66F-674B-B06F-406F215D162A}" type="presParOf" srcId="{C176592F-E087-B04D-9588-EF6FC2F92869}" destId="{38784AEE-09B7-0C47-8227-D02D0F1EDC40}" srcOrd="9" destOrd="0" presId="urn:microsoft.com/office/officeart/2005/8/layout/orgChart1"/>
    <dgm:cxn modelId="{9E57A345-A34B-4540-BE09-4AA1EA94262F}" type="presParOf" srcId="{38784AEE-09B7-0C47-8227-D02D0F1EDC40}" destId="{1B5211C4-1365-1640-A178-1D467A02D08A}" srcOrd="0" destOrd="0" presId="urn:microsoft.com/office/officeart/2005/8/layout/orgChart1"/>
    <dgm:cxn modelId="{C2FE9EC5-7FAE-4A42-8743-F4EE905FE214}" type="presParOf" srcId="{1B5211C4-1365-1640-A178-1D467A02D08A}" destId="{572E3CDC-5D66-514E-8912-D04551846EC7}" srcOrd="0" destOrd="0" presId="urn:microsoft.com/office/officeart/2005/8/layout/orgChart1"/>
    <dgm:cxn modelId="{5E0C6F80-DE35-1545-B7F4-85907715EE99}" type="presParOf" srcId="{1B5211C4-1365-1640-A178-1D467A02D08A}" destId="{64829248-69CA-0B4E-875C-600221CC892E}" srcOrd="1" destOrd="0" presId="urn:microsoft.com/office/officeart/2005/8/layout/orgChart1"/>
    <dgm:cxn modelId="{B63E2B2D-86A9-FA42-A3BE-C47DE4D6CB8D}" type="presParOf" srcId="{38784AEE-09B7-0C47-8227-D02D0F1EDC40}" destId="{EB7C6A82-1BAB-C84F-ABFF-4175D1E01329}" srcOrd="1" destOrd="0" presId="urn:microsoft.com/office/officeart/2005/8/layout/orgChart1"/>
    <dgm:cxn modelId="{B2E73C86-FEDE-6244-82FE-56051D53AA25}" type="presParOf" srcId="{EB7C6A82-1BAB-C84F-ABFF-4175D1E01329}" destId="{44F6E45F-C07E-304C-AB67-8E8552A42778}" srcOrd="0" destOrd="0" presId="urn:microsoft.com/office/officeart/2005/8/layout/orgChart1"/>
    <dgm:cxn modelId="{22B536DB-6582-2947-9CBC-FA6EB1287CD6}" type="presParOf" srcId="{EB7C6A82-1BAB-C84F-ABFF-4175D1E01329}" destId="{2208A308-1D10-494E-B09E-F544AF8068C3}" srcOrd="1" destOrd="0" presId="urn:microsoft.com/office/officeart/2005/8/layout/orgChart1"/>
    <dgm:cxn modelId="{52B04DED-DFEA-734F-9F48-D7A941D6D5FE}" type="presParOf" srcId="{2208A308-1D10-494E-B09E-F544AF8068C3}" destId="{52F1A2B4-5B26-7844-A417-F9A302DD4377}" srcOrd="0" destOrd="0" presId="urn:microsoft.com/office/officeart/2005/8/layout/orgChart1"/>
    <dgm:cxn modelId="{72BE99F0-0ECA-CE44-B47B-4DC32D219BED}" type="presParOf" srcId="{52F1A2B4-5B26-7844-A417-F9A302DD4377}" destId="{312925C6-1321-8C4D-8ECE-565EBD85AA53}" srcOrd="0" destOrd="0" presId="urn:microsoft.com/office/officeart/2005/8/layout/orgChart1"/>
    <dgm:cxn modelId="{35424F78-0C39-F742-A0B7-58E028529217}" type="presParOf" srcId="{52F1A2B4-5B26-7844-A417-F9A302DD4377}" destId="{51242648-056D-864F-A823-CF2B10E36DC5}" srcOrd="1" destOrd="0" presId="urn:microsoft.com/office/officeart/2005/8/layout/orgChart1"/>
    <dgm:cxn modelId="{075231EC-2AC0-8641-A554-F8279FE8AB11}" type="presParOf" srcId="{2208A308-1D10-494E-B09E-F544AF8068C3}" destId="{101F8E47-0BE7-944C-B421-13AA797AD0FE}" srcOrd="1" destOrd="0" presId="urn:microsoft.com/office/officeart/2005/8/layout/orgChart1"/>
    <dgm:cxn modelId="{2AAB6E7B-1B48-A843-8650-51E46476B445}" type="presParOf" srcId="{2208A308-1D10-494E-B09E-F544AF8068C3}" destId="{63EE6A4D-0BB5-9F46-BC36-0F3CE16A1208}" srcOrd="2" destOrd="0" presId="urn:microsoft.com/office/officeart/2005/8/layout/orgChart1"/>
    <dgm:cxn modelId="{D5CF7E83-74A5-504D-92CD-45300409719F}" type="presParOf" srcId="{EB7C6A82-1BAB-C84F-ABFF-4175D1E01329}" destId="{6440B106-7C72-9547-AE5A-A590A6A7292B}" srcOrd="2" destOrd="0" presId="urn:microsoft.com/office/officeart/2005/8/layout/orgChart1"/>
    <dgm:cxn modelId="{18FD48C3-643E-C54C-BD06-26CC4BF8C11D}" type="presParOf" srcId="{EB7C6A82-1BAB-C84F-ABFF-4175D1E01329}" destId="{BAC73BF8-8458-2342-9ECA-03ADDC1723E5}" srcOrd="3" destOrd="0" presId="urn:microsoft.com/office/officeart/2005/8/layout/orgChart1"/>
    <dgm:cxn modelId="{BCEDA4CD-3593-B048-B5F0-1681B1EA0A63}" type="presParOf" srcId="{BAC73BF8-8458-2342-9ECA-03ADDC1723E5}" destId="{0C073428-45A6-A444-B614-5DE374C411EB}" srcOrd="0" destOrd="0" presId="urn:microsoft.com/office/officeart/2005/8/layout/orgChart1"/>
    <dgm:cxn modelId="{004C6906-16D1-5141-9B25-0B775F321A3C}" type="presParOf" srcId="{0C073428-45A6-A444-B614-5DE374C411EB}" destId="{96DE10DD-2A27-1E4E-A6B9-8640BCC5A191}" srcOrd="0" destOrd="0" presId="urn:microsoft.com/office/officeart/2005/8/layout/orgChart1"/>
    <dgm:cxn modelId="{D705D7CB-7BC8-E34C-BF0E-D1C239C7723E}" type="presParOf" srcId="{0C073428-45A6-A444-B614-5DE374C411EB}" destId="{8F158EFB-F898-3C42-9661-FD99398859DA}" srcOrd="1" destOrd="0" presId="urn:microsoft.com/office/officeart/2005/8/layout/orgChart1"/>
    <dgm:cxn modelId="{C69093E1-0F98-3C49-B53E-61114353EA48}" type="presParOf" srcId="{BAC73BF8-8458-2342-9ECA-03ADDC1723E5}" destId="{115DEFFC-01B6-BC42-A789-F0A80147F2CC}" srcOrd="1" destOrd="0" presId="urn:microsoft.com/office/officeart/2005/8/layout/orgChart1"/>
    <dgm:cxn modelId="{467A2AFA-FCED-9E4A-8AEA-43B649129EF2}" type="presParOf" srcId="{BAC73BF8-8458-2342-9ECA-03ADDC1723E5}" destId="{B17F80B3-A6DC-D645-A595-41D80D4CE969}" srcOrd="2" destOrd="0" presId="urn:microsoft.com/office/officeart/2005/8/layout/orgChart1"/>
    <dgm:cxn modelId="{CB364FA4-5F8F-8845-9812-5C6EE20F038F}" type="presParOf" srcId="{EB7C6A82-1BAB-C84F-ABFF-4175D1E01329}" destId="{65969C0C-C4EF-8044-B112-A2052B5FA261}" srcOrd="4" destOrd="0" presId="urn:microsoft.com/office/officeart/2005/8/layout/orgChart1"/>
    <dgm:cxn modelId="{BA9E218A-05A9-EE45-A704-FEFBF8A242E5}" type="presParOf" srcId="{EB7C6A82-1BAB-C84F-ABFF-4175D1E01329}" destId="{15CB5C64-C278-794E-82CF-052985D0BE92}" srcOrd="5" destOrd="0" presId="urn:microsoft.com/office/officeart/2005/8/layout/orgChart1"/>
    <dgm:cxn modelId="{5A471804-1D21-9244-8E7F-AE9DB508459F}" type="presParOf" srcId="{15CB5C64-C278-794E-82CF-052985D0BE92}" destId="{BA365489-556A-C940-A00F-72AECC305955}" srcOrd="0" destOrd="0" presId="urn:microsoft.com/office/officeart/2005/8/layout/orgChart1"/>
    <dgm:cxn modelId="{824BBFB8-9468-2741-9D87-F25CF4B22364}" type="presParOf" srcId="{BA365489-556A-C940-A00F-72AECC305955}" destId="{210923D2-AC03-0946-B698-462DDD0B6542}" srcOrd="0" destOrd="0" presId="urn:microsoft.com/office/officeart/2005/8/layout/orgChart1"/>
    <dgm:cxn modelId="{C9B31AFB-7FC4-3345-817F-C8DA54B16B53}" type="presParOf" srcId="{BA365489-556A-C940-A00F-72AECC305955}" destId="{2CA7FC21-BB86-E144-A530-0AA3F7C11ADE}" srcOrd="1" destOrd="0" presId="urn:microsoft.com/office/officeart/2005/8/layout/orgChart1"/>
    <dgm:cxn modelId="{823631DE-F6F4-D948-9981-9431048461EA}" type="presParOf" srcId="{15CB5C64-C278-794E-82CF-052985D0BE92}" destId="{AB10E984-B840-EA4C-B0FD-663FD1FBE1EE}" srcOrd="1" destOrd="0" presId="urn:microsoft.com/office/officeart/2005/8/layout/orgChart1"/>
    <dgm:cxn modelId="{BA509112-B785-344D-8AA6-9F75B4187072}" type="presParOf" srcId="{15CB5C64-C278-794E-82CF-052985D0BE92}" destId="{A0B7D572-0CBF-904A-8189-72905D552A09}" srcOrd="2" destOrd="0" presId="urn:microsoft.com/office/officeart/2005/8/layout/orgChart1"/>
    <dgm:cxn modelId="{560B891C-9EDA-6A4F-9CC5-3F382F30A6EC}" type="presParOf" srcId="{38784AEE-09B7-0C47-8227-D02D0F1EDC40}" destId="{0D4ABEBA-7F67-174B-9D14-25EB0F873638}" srcOrd="2" destOrd="0" presId="urn:microsoft.com/office/officeart/2005/8/layout/orgChart1"/>
    <dgm:cxn modelId="{A384298B-6260-F640-A2CD-B7971C8EA615}" type="presParOf" srcId="{C176592F-E087-B04D-9588-EF6FC2F92869}" destId="{FD0BC2B8-08A5-504D-8B97-A8DFE6F2353D}" srcOrd="10" destOrd="0" presId="urn:microsoft.com/office/officeart/2005/8/layout/orgChart1"/>
    <dgm:cxn modelId="{58D45E4C-9067-7740-9839-D486F6699D49}" type="presParOf" srcId="{C176592F-E087-B04D-9588-EF6FC2F92869}" destId="{4D65A84D-8A4B-FF46-8FC4-DF9823B8C901}" srcOrd="11" destOrd="0" presId="urn:microsoft.com/office/officeart/2005/8/layout/orgChart1"/>
    <dgm:cxn modelId="{B76F4932-2A6A-1A42-851F-9A2E8D0EA0CF}" type="presParOf" srcId="{4D65A84D-8A4B-FF46-8FC4-DF9823B8C901}" destId="{03C01BD0-EEC3-1044-9FF9-FA46EBEE4A5A}" srcOrd="0" destOrd="0" presId="urn:microsoft.com/office/officeart/2005/8/layout/orgChart1"/>
    <dgm:cxn modelId="{E2561F16-EB62-8042-9219-556C6938AAF2}" type="presParOf" srcId="{03C01BD0-EEC3-1044-9FF9-FA46EBEE4A5A}" destId="{0FE69002-AB56-3740-A6BE-C29542137A47}" srcOrd="0" destOrd="0" presId="urn:microsoft.com/office/officeart/2005/8/layout/orgChart1"/>
    <dgm:cxn modelId="{06895E11-E3C3-D041-B77E-76E8DE983E1B}" type="presParOf" srcId="{03C01BD0-EEC3-1044-9FF9-FA46EBEE4A5A}" destId="{78596C7B-EEAE-2041-808D-BB85B551442B}" srcOrd="1" destOrd="0" presId="urn:microsoft.com/office/officeart/2005/8/layout/orgChart1"/>
    <dgm:cxn modelId="{BC48A375-D6CA-9F4B-ADFC-BAE03825B533}" type="presParOf" srcId="{4D65A84D-8A4B-FF46-8FC4-DF9823B8C901}" destId="{5D17771E-4B1E-524B-BB1A-B729F8A623F9}" srcOrd="1" destOrd="0" presId="urn:microsoft.com/office/officeart/2005/8/layout/orgChart1"/>
    <dgm:cxn modelId="{4C3291A6-C90B-4442-A357-89E1D448E090}" type="presParOf" srcId="{5D17771E-4B1E-524B-BB1A-B729F8A623F9}" destId="{18EACF5C-66CA-3E4D-8C5C-FF5941FDB285}" srcOrd="0" destOrd="0" presId="urn:microsoft.com/office/officeart/2005/8/layout/orgChart1"/>
    <dgm:cxn modelId="{6AECBDED-7CE1-6F44-948F-F9BDE378DB5D}" type="presParOf" srcId="{5D17771E-4B1E-524B-BB1A-B729F8A623F9}" destId="{6C7DB993-CCDC-324F-8775-E1F06DD4FFD7}" srcOrd="1" destOrd="0" presId="urn:microsoft.com/office/officeart/2005/8/layout/orgChart1"/>
    <dgm:cxn modelId="{2C44ECAD-762A-EF47-9DEB-E380CD38EE04}" type="presParOf" srcId="{6C7DB993-CCDC-324F-8775-E1F06DD4FFD7}" destId="{D4DA819A-9F1A-9344-ADAA-3A8DDECA6851}" srcOrd="0" destOrd="0" presId="urn:microsoft.com/office/officeart/2005/8/layout/orgChart1"/>
    <dgm:cxn modelId="{B887005E-E8DB-7948-9D2C-3D0B82AE5E1A}" type="presParOf" srcId="{D4DA819A-9F1A-9344-ADAA-3A8DDECA6851}" destId="{3F382FC2-12CB-D943-89ED-75CADBE6B2B9}" srcOrd="0" destOrd="0" presId="urn:microsoft.com/office/officeart/2005/8/layout/orgChart1"/>
    <dgm:cxn modelId="{728D9E1C-C557-DB49-B832-07FBDE21ACFD}" type="presParOf" srcId="{D4DA819A-9F1A-9344-ADAA-3A8DDECA6851}" destId="{A9018DA5-07A6-1047-8906-D5CEBD268137}" srcOrd="1" destOrd="0" presId="urn:microsoft.com/office/officeart/2005/8/layout/orgChart1"/>
    <dgm:cxn modelId="{85913557-6787-2740-B710-3929AFC78B73}" type="presParOf" srcId="{6C7DB993-CCDC-324F-8775-E1F06DD4FFD7}" destId="{B5813A8B-06F6-9048-B681-BC00AA738FE4}" srcOrd="1" destOrd="0" presId="urn:microsoft.com/office/officeart/2005/8/layout/orgChart1"/>
    <dgm:cxn modelId="{BE2E1B04-56D5-2E49-BBCE-620036DF4659}" type="presParOf" srcId="{6C7DB993-CCDC-324F-8775-E1F06DD4FFD7}" destId="{95C46E87-2E48-C342-A249-297A911EA1BF}" srcOrd="2" destOrd="0" presId="urn:microsoft.com/office/officeart/2005/8/layout/orgChart1"/>
    <dgm:cxn modelId="{4468F6CF-66A8-5D46-8C6C-B74810CC44F4}" type="presParOf" srcId="{5D17771E-4B1E-524B-BB1A-B729F8A623F9}" destId="{CE80B93D-D000-8B4B-8100-E0B67DB0E877}" srcOrd="2" destOrd="0" presId="urn:microsoft.com/office/officeart/2005/8/layout/orgChart1"/>
    <dgm:cxn modelId="{F9892D1B-40E8-C547-A499-50859B8E8AE8}" type="presParOf" srcId="{5D17771E-4B1E-524B-BB1A-B729F8A623F9}" destId="{135F96AC-C0EB-DF47-A8C8-A7B4CD21E5E7}" srcOrd="3" destOrd="0" presId="urn:microsoft.com/office/officeart/2005/8/layout/orgChart1"/>
    <dgm:cxn modelId="{8B248E2C-DED6-034B-8859-0E14A4E3BC9F}" type="presParOf" srcId="{135F96AC-C0EB-DF47-A8C8-A7B4CD21E5E7}" destId="{211E14D2-36F3-F344-B001-DAEE9207C99A}" srcOrd="0" destOrd="0" presId="urn:microsoft.com/office/officeart/2005/8/layout/orgChart1"/>
    <dgm:cxn modelId="{FF47DC0F-377A-2946-BB76-F4BA70104529}" type="presParOf" srcId="{211E14D2-36F3-F344-B001-DAEE9207C99A}" destId="{EA99EEAC-15F9-BB4A-A17F-8DF66EAF1CDC}" srcOrd="0" destOrd="0" presId="urn:microsoft.com/office/officeart/2005/8/layout/orgChart1"/>
    <dgm:cxn modelId="{5A3CF1D2-A7D9-2B47-91AF-F505D4B6313A}" type="presParOf" srcId="{211E14D2-36F3-F344-B001-DAEE9207C99A}" destId="{AF27EFD7-AEE3-5142-9BFD-36D0D1B36002}" srcOrd="1" destOrd="0" presId="urn:microsoft.com/office/officeart/2005/8/layout/orgChart1"/>
    <dgm:cxn modelId="{A50BF911-DC3D-404E-982D-336658610EC4}" type="presParOf" srcId="{135F96AC-C0EB-DF47-A8C8-A7B4CD21E5E7}" destId="{9C8E7226-45B7-4C4E-9BE3-277B0CB35A46}" srcOrd="1" destOrd="0" presId="urn:microsoft.com/office/officeart/2005/8/layout/orgChart1"/>
    <dgm:cxn modelId="{791C4C80-5816-484D-91D9-D7CDE45CF0CC}" type="presParOf" srcId="{135F96AC-C0EB-DF47-A8C8-A7B4CD21E5E7}" destId="{B654A497-F541-7549-BE0E-498FA6C82A50}" srcOrd="2" destOrd="0" presId="urn:microsoft.com/office/officeart/2005/8/layout/orgChart1"/>
    <dgm:cxn modelId="{5C97B229-C15A-3648-8377-AFB023EAC11C}" type="presParOf" srcId="{5D17771E-4B1E-524B-BB1A-B729F8A623F9}" destId="{EE101F31-B493-FC4F-BA98-4DA93A046699}" srcOrd="4" destOrd="0" presId="urn:microsoft.com/office/officeart/2005/8/layout/orgChart1"/>
    <dgm:cxn modelId="{9024B493-08D7-1649-9D3C-2E3D1892F843}" type="presParOf" srcId="{5D17771E-4B1E-524B-BB1A-B729F8A623F9}" destId="{743FC97E-EDF8-8440-9167-2FF59851F03F}" srcOrd="5" destOrd="0" presId="urn:microsoft.com/office/officeart/2005/8/layout/orgChart1"/>
    <dgm:cxn modelId="{C47AD54D-A4BE-1E45-BAD0-601A1BEE985C}" type="presParOf" srcId="{743FC97E-EDF8-8440-9167-2FF59851F03F}" destId="{72E8E29A-9051-694D-A417-CE6EE9089A15}" srcOrd="0" destOrd="0" presId="urn:microsoft.com/office/officeart/2005/8/layout/orgChart1"/>
    <dgm:cxn modelId="{3FF72D99-073F-5049-9265-76338B6051F2}" type="presParOf" srcId="{72E8E29A-9051-694D-A417-CE6EE9089A15}" destId="{72D53164-9DF1-584A-A8A9-A81741EC7864}" srcOrd="0" destOrd="0" presId="urn:microsoft.com/office/officeart/2005/8/layout/orgChart1"/>
    <dgm:cxn modelId="{0FD3D947-2CC0-1845-841A-B9F7F2933F6C}" type="presParOf" srcId="{72E8E29A-9051-694D-A417-CE6EE9089A15}" destId="{5108E4B9-C933-084B-87BD-17BA21FAC394}" srcOrd="1" destOrd="0" presId="urn:microsoft.com/office/officeart/2005/8/layout/orgChart1"/>
    <dgm:cxn modelId="{DEDBFDF4-475C-0348-8244-93932898E75F}" type="presParOf" srcId="{743FC97E-EDF8-8440-9167-2FF59851F03F}" destId="{649410E7-1B76-0045-8BBB-B901D379D30D}" srcOrd="1" destOrd="0" presId="urn:microsoft.com/office/officeart/2005/8/layout/orgChart1"/>
    <dgm:cxn modelId="{70662648-E075-8E4C-BD26-9D1DFD06C796}" type="presParOf" srcId="{743FC97E-EDF8-8440-9167-2FF59851F03F}" destId="{71FE410D-3141-9A4F-B3B0-E72482DDAA9E}" srcOrd="2" destOrd="0" presId="urn:microsoft.com/office/officeart/2005/8/layout/orgChart1"/>
    <dgm:cxn modelId="{740BDD59-41F9-EE40-B728-38D4DC39C613}" type="presParOf" srcId="{4D65A84D-8A4B-FF46-8FC4-DF9823B8C901}" destId="{563039BE-2DC6-AF4D-A183-8E60493152DD}" srcOrd="2" destOrd="0" presId="urn:microsoft.com/office/officeart/2005/8/layout/orgChart1"/>
    <dgm:cxn modelId="{2895C982-71F2-964A-958F-C69290C9057F}" type="presParOf" srcId="{01768E30-7C00-9D46-B106-9803EF77DB72}" destId="{42EF44E0-7DBD-CF4E-9797-0AB81CD9C8EC}" srcOrd="2" destOrd="0" presId="urn:microsoft.com/office/officeart/2005/8/layout/orgChar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A02BDE-F9F8-534B-AFBE-F69D41738C15}">
      <dsp:nvSpPr>
        <dsp:cNvPr id="0" name=""/>
        <dsp:cNvSpPr/>
      </dsp:nvSpPr>
      <dsp:spPr>
        <a:xfrm>
          <a:off x="16083519" y="5161787"/>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896787E-B596-3D47-AF70-7BF1181711DA}">
      <dsp:nvSpPr>
        <dsp:cNvPr id="0" name=""/>
        <dsp:cNvSpPr/>
      </dsp:nvSpPr>
      <dsp:spPr>
        <a:xfrm>
          <a:off x="14260271" y="5161787"/>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3C56EFE0-A99A-1A4E-8820-C664E6B497CB}">
      <dsp:nvSpPr>
        <dsp:cNvPr id="0" name=""/>
        <dsp:cNvSpPr/>
      </dsp:nvSpPr>
      <dsp:spPr>
        <a:xfrm>
          <a:off x="11525398" y="2399565"/>
          <a:ext cx="4558121" cy="867700"/>
        </a:xfrm>
        <a:custGeom>
          <a:avLst/>
          <a:gdLst/>
          <a:ahLst/>
          <a:cxnLst/>
          <a:rect l="0" t="0" r="0" b="0"/>
          <a:pathLst>
            <a:path>
              <a:moveTo>
                <a:pt x="0" y="0"/>
              </a:moveTo>
              <a:lnTo>
                <a:pt x="0" y="591312"/>
              </a:lnTo>
              <a:lnTo>
                <a:pt x="4558121" y="591312"/>
              </a:lnTo>
              <a:lnTo>
                <a:pt x="4558121" y="86770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4BDD72AF-9300-FE41-87F4-27880B7B7760}">
      <dsp:nvSpPr>
        <dsp:cNvPr id="0" name=""/>
        <dsp:cNvSpPr/>
      </dsp:nvSpPr>
      <dsp:spPr>
        <a:xfrm>
          <a:off x="10613773" y="7924008"/>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C0E88B73-3140-9B45-ADBE-E381220B76C4}">
      <dsp:nvSpPr>
        <dsp:cNvPr id="0" name=""/>
        <dsp:cNvSpPr/>
      </dsp:nvSpPr>
      <dsp:spPr>
        <a:xfrm>
          <a:off x="8790525" y="7924008"/>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787BAEBB-C6A5-4846-B73F-5052A7752B7A}">
      <dsp:nvSpPr>
        <dsp:cNvPr id="0" name=""/>
        <dsp:cNvSpPr/>
      </dsp:nvSpPr>
      <dsp:spPr>
        <a:xfrm>
          <a:off x="6967276" y="5161787"/>
          <a:ext cx="3646497" cy="867700"/>
        </a:xfrm>
        <a:custGeom>
          <a:avLst/>
          <a:gdLst/>
          <a:ahLst/>
          <a:cxnLst/>
          <a:rect l="0" t="0" r="0" b="0"/>
          <a:pathLst>
            <a:path>
              <a:moveTo>
                <a:pt x="0" y="0"/>
              </a:moveTo>
              <a:lnTo>
                <a:pt x="0" y="591312"/>
              </a:lnTo>
              <a:lnTo>
                <a:pt x="3646497" y="591312"/>
              </a:lnTo>
              <a:lnTo>
                <a:pt x="3646497"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51B4CA8-FD13-D240-A91B-57DBF1DB0415}">
      <dsp:nvSpPr>
        <dsp:cNvPr id="0" name=""/>
        <dsp:cNvSpPr/>
      </dsp:nvSpPr>
      <dsp:spPr>
        <a:xfrm>
          <a:off x="3320779" y="7924008"/>
          <a:ext cx="1823248" cy="867700"/>
        </a:xfrm>
        <a:custGeom>
          <a:avLst/>
          <a:gdLst/>
          <a:ahLst/>
          <a:cxnLst/>
          <a:rect l="0" t="0" r="0" b="0"/>
          <a:pathLst>
            <a:path>
              <a:moveTo>
                <a:pt x="0" y="0"/>
              </a:moveTo>
              <a:lnTo>
                <a:pt x="0" y="591312"/>
              </a:lnTo>
              <a:lnTo>
                <a:pt x="1823248" y="591312"/>
              </a:lnTo>
              <a:lnTo>
                <a:pt x="1823248"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91DB0BAF-F501-9549-878A-8E209792FD32}">
      <dsp:nvSpPr>
        <dsp:cNvPr id="0" name=""/>
        <dsp:cNvSpPr/>
      </dsp:nvSpPr>
      <dsp:spPr>
        <a:xfrm>
          <a:off x="1497530" y="7924008"/>
          <a:ext cx="1823248" cy="867700"/>
        </a:xfrm>
        <a:custGeom>
          <a:avLst/>
          <a:gdLst/>
          <a:ahLst/>
          <a:cxnLst/>
          <a:rect l="0" t="0" r="0" b="0"/>
          <a:pathLst>
            <a:path>
              <a:moveTo>
                <a:pt x="1823248" y="0"/>
              </a:moveTo>
              <a:lnTo>
                <a:pt x="1823248"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2B82377D-A4E1-994D-B2C3-C7E946B729C5}">
      <dsp:nvSpPr>
        <dsp:cNvPr id="0" name=""/>
        <dsp:cNvSpPr/>
      </dsp:nvSpPr>
      <dsp:spPr>
        <a:xfrm>
          <a:off x="3320779" y="5161787"/>
          <a:ext cx="3646497" cy="867700"/>
        </a:xfrm>
        <a:custGeom>
          <a:avLst/>
          <a:gdLst/>
          <a:ahLst/>
          <a:cxnLst/>
          <a:rect l="0" t="0" r="0" b="0"/>
          <a:pathLst>
            <a:path>
              <a:moveTo>
                <a:pt x="3646497" y="0"/>
              </a:moveTo>
              <a:lnTo>
                <a:pt x="3646497" y="591312"/>
              </a:lnTo>
              <a:lnTo>
                <a:pt x="0" y="591312"/>
              </a:lnTo>
              <a:lnTo>
                <a:pt x="0" y="867700"/>
              </a:lnTo>
            </a:path>
          </a:pathLst>
        </a:custGeom>
        <a:noFill/>
        <a:ln w="25400" cap="flat" cmpd="sng" algn="ctr">
          <a:solidFill>
            <a:schemeClr val="accent1">
              <a:shade val="80000"/>
              <a:hueOff val="0"/>
              <a:satOff val="0"/>
              <a:lumOff val="0"/>
              <a:alphaOff val="0"/>
            </a:schemeClr>
          </a:solidFill>
          <a:prstDash val="solid"/>
        </a:ln>
        <a:effectLst/>
        <a:scene3d>
          <a:camera prst="orthographicFront"/>
          <a:lightRig rig="chilly" dir="t"/>
        </a:scene3d>
        <a:sp3d z="-40000" prstMaterial="matte"/>
      </dsp:spPr>
      <dsp:style>
        <a:lnRef idx="2">
          <a:scrgbClr r="0" g="0" b="0"/>
        </a:lnRef>
        <a:fillRef idx="0">
          <a:scrgbClr r="0" g="0" b="0"/>
        </a:fillRef>
        <a:effectRef idx="0">
          <a:scrgbClr r="0" g="0" b="0"/>
        </a:effectRef>
        <a:fontRef idx="minor"/>
      </dsp:style>
    </dsp:sp>
    <dsp:sp modelId="{F12BE241-1196-654B-9ADB-5C9E9D65C988}">
      <dsp:nvSpPr>
        <dsp:cNvPr id="0" name=""/>
        <dsp:cNvSpPr/>
      </dsp:nvSpPr>
      <dsp:spPr>
        <a:xfrm>
          <a:off x="6967276" y="2399565"/>
          <a:ext cx="4558121" cy="867700"/>
        </a:xfrm>
        <a:custGeom>
          <a:avLst/>
          <a:gdLst/>
          <a:ahLst/>
          <a:cxnLst/>
          <a:rect l="0" t="0" r="0" b="0"/>
          <a:pathLst>
            <a:path>
              <a:moveTo>
                <a:pt x="4558121" y="0"/>
              </a:moveTo>
              <a:lnTo>
                <a:pt x="4558121" y="591312"/>
              </a:lnTo>
              <a:lnTo>
                <a:pt x="0" y="591312"/>
              </a:lnTo>
              <a:lnTo>
                <a:pt x="0" y="867700"/>
              </a:lnTo>
            </a:path>
          </a:pathLst>
        </a:custGeom>
        <a:noFill/>
        <a:ln w="25400" cap="flat" cmpd="sng" algn="ctr">
          <a:solidFill>
            <a:schemeClr val="accent1">
              <a:shade val="60000"/>
              <a:hueOff val="0"/>
              <a:satOff val="0"/>
              <a:lumOff val="0"/>
              <a:alphaOff val="0"/>
            </a:schemeClr>
          </a:solidFill>
          <a:prstDash val="solid"/>
        </a:ln>
        <a:effectLst/>
        <a:sp3d z="-40000" prstMaterial="matte"/>
      </dsp:spPr>
      <dsp:style>
        <a:lnRef idx="2">
          <a:scrgbClr r="0" g="0" b="0"/>
        </a:lnRef>
        <a:fillRef idx="0">
          <a:scrgbClr r="0" g="0" b="0"/>
        </a:fillRef>
        <a:effectRef idx="0">
          <a:scrgbClr r="0" g="0" b="0"/>
        </a:effectRef>
        <a:fontRef idx="minor"/>
      </dsp:style>
    </dsp:sp>
    <dsp:sp modelId="{1B9369A3-05A5-9A4E-B39B-323DAD44EC7D}">
      <dsp:nvSpPr>
        <dsp:cNvPr id="0" name=""/>
        <dsp:cNvSpPr/>
      </dsp:nvSpPr>
      <dsp:spPr>
        <a:xfrm>
          <a:off x="10033649" y="505044"/>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688CBFC9-CF51-6A4C-A892-4A80D3E91B9C}">
      <dsp:nvSpPr>
        <dsp:cNvPr id="0" name=""/>
        <dsp:cNvSpPr/>
      </dsp:nvSpPr>
      <dsp:spPr>
        <a:xfrm>
          <a:off x="10365149" y="819969"/>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Revenu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1" kern="1200" dirty="0" smtClean="0">
              <a:solidFill>
                <a:schemeClr val="accent1">
                  <a:lumMod val="50000"/>
                </a:schemeClr>
              </a:solidFill>
              <a:effectLst>
                <a:outerShdw blurRad="50800" dist="38100" dir="2700000" algn="tl" rotWithShape="0">
                  <a:prstClr val="black">
                    <a:alpha val="40000"/>
                  </a:prstClr>
                </a:outerShdw>
              </a:effectLst>
            </a:rPr>
            <a:t> </a:t>
          </a:r>
          <a:r>
            <a:rPr lang="en-US" sz="2900" b="0" kern="1200" dirty="0" smtClean="0">
              <a:solidFill>
                <a:schemeClr val="accent1">
                  <a:lumMod val="50000"/>
                </a:schemeClr>
              </a:solidFill>
              <a:effectLst>
                <a:outerShdw blurRad="50800" dist="38100" dir="2700000" algn="tl" rotWithShape="0">
                  <a:prstClr val="black">
                    <a:alpha val="40000"/>
                  </a:prstClr>
                </a:outerShdw>
              </a:effectLst>
            </a:rPr>
            <a:t>$2.0m</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0420638" y="875458"/>
        <a:ext cx="2872519" cy="1783543"/>
      </dsp:txXfrm>
    </dsp:sp>
    <dsp:sp modelId="{7ECDC231-B0B4-1044-90EF-2671056D5251}">
      <dsp:nvSpPr>
        <dsp:cNvPr id="0" name=""/>
        <dsp:cNvSpPr/>
      </dsp:nvSpPr>
      <dsp:spPr>
        <a:xfrm>
          <a:off x="5475527" y="3267266"/>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D4AF2446-8BB2-BC44-9E58-102FAC90164A}">
      <dsp:nvSpPr>
        <dsp:cNvPr id="0" name=""/>
        <dsp:cNvSpPr/>
      </dsp:nvSpPr>
      <dsp:spPr>
        <a:xfrm>
          <a:off x="5807027" y="3582191"/>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Revenue Per Visitor:</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1.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5862516" y="3637680"/>
        <a:ext cx="2872519" cy="1783543"/>
      </dsp:txXfrm>
    </dsp:sp>
    <dsp:sp modelId="{A3249D03-CDCD-F743-9071-744E300E2489}">
      <dsp:nvSpPr>
        <dsp:cNvPr id="0" name=""/>
        <dsp:cNvSpPr/>
      </dsp:nvSpPr>
      <dsp:spPr>
        <a:xfrm>
          <a:off x="1829030"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9A37EE48-0C7B-5543-95BA-2B866B6CFFC5}">
      <dsp:nvSpPr>
        <dsp:cNvPr id="0" name=""/>
        <dsp:cNvSpPr/>
      </dsp:nvSpPr>
      <dsp:spPr>
        <a:xfrm>
          <a:off x="2160530"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Order Valu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50.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2216019" y="6399901"/>
        <a:ext cx="2872519" cy="1783543"/>
      </dsp:txXfrm>
    </dsp:sp>
    <dsp:sp modelId="{013E3F4F-50CC-2B4B-AEC0-1BEA47E18A54}">
      <dsp:nvSpPr>
        <dsp:cNvPr id="0" name=""/>
        <dsp:cNvSpPr/>
      </dsp:nvSpPr>
      <dsp:spPr>
        <a:xfrm>
          <a:off x="5781"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5686E0BE-C1C5-EC45-8CAA-7F9452D02E34}">
      <dsp:nvSpPr>
        <dsp:cNvPr id="0" name=""/>
        <dsp:cNvSpPr/>
      </dsp:nvSpPr>
      <dsp:spPr>
        <a:xfrm>
          <a:off x="337281"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quantity:</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392770" y="9162123"/>
        <a:ext cx="2872519" cy="1783543"/>
      </dsp:txXfrm>
    </dsp:sp>
    <dsp:sp modelId="{F03A88C2-D2CD-2748-B889-C91C65E6E2BB}">
      <dsp:nvSpPr>
        <dsp:cNvPr id="0" name=""/>
        <dsp:cNvSpPr/>
      </dsp:nvSpPr>
      <dsp:spPr>
        <a:xfrm>
          <a:off x="3652279"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3E6EA152-4905-344C-9D27-1F4340B46C4C}">
      <dsp:nvSpPr>
        <dsp:cNvPr id="0" name=""/>
        <dsp:cNvSpPr/>
      </dsp:nvSpPr>
      <dsp:spPr>
        <a:xfrm>
          <a:off x="3983778"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verage per unit pric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5.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4039267" y="9162123"/>
        <a:ext cx="2872519" cy="1783543"/>
      </dsp:txXfrm>
    </dsp:sp>
    <dsp:sp modelId="{566569CA-60A1-4C4F-AFF2-CDDC04B70585}">
      <dsp:nvSpPr>
        <dsp:cNvPr id="0" name=""/>
        <dsp:cNvSpPr/>
      </dsp:nvSpPr>
      <dsp:spPr>
        <a:xfrm>
          <a:off x="9122025"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FB2451F5-A243-E544-B2E0-CD798B574787}">
      <dsp:nvSpPr>
        <dsp:cNvPr id="0" name=""/>
        <dsp:cNvSpPr/>
      </dsp:nvSpPr>
      <dsp:spPr>
        <a:xfrm>
          <a:off x="9453524"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Conversion Rate:</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0%</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9509013" y="6399901"/>
        <a:ext cx="2872519" cy="1783543"/>
      </dsp:txXfrm>
    </dsp:sp>
    <dsp:sp modelId="{D1D63DA7-35DA-2140-8AB4-BBBFE1A99F8C}">
      <dsp:nvSpPr>
        <dsp:cNvPr id="0" name=""/>
        <dsp:cNvSpPr/>
      </dsp:nvSpPr>
      <dsp:spPr>
        <a:xfrm>
          <a:off x="7298776"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ADD942DA-F9AE-A54E-8F58-9123C760AA04}">
      <dsp:nvSpPr>
        <dsp:cNvPr id="0" name=""/>
        <dsp:cNvSpPr/>
      </dsp:nvSpPr>
      <dsp:spPr>
        <a:xfrm>
          <a:off x="7630276"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Add to Cart</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7685765" y="9162123"/>
        <a:ext cx="2872519" cy="1783543"/>
      </dsp:txXfrm>
    </dsp:sp>
    <dsp:sp modelId="{B406D17C-37E4-654E-844A-37B1D1EE2181}">
      <dsp:nvSpPr>
        <dsp:cNvPr id="0" name=""/>
        <dsp:cNvSpPr/>
      </dsp:nvSpPr>
      <dsp:spPr>
        <a:xfrm>
          <a:off x="10945273" y="8791709"/>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1CC27B90-AC9A-2A4F-BC62-34743178EAEA}">
      <dsp:nvSpPr>
        <dsp:cNvPr id="0" name=""/>
        <dsp:cNvSpPr/>
      </dsp:nvSpPr>
      <dsp:spPr>
        <a:xfrm>
          <a:off x="11276773" y="9106634"/>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Cart Checkout Rate</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11332262" y="9162123"/>
        <a:ext cx="2872519" cy="1783543"/>
      </dsp:txXfrm>
    </dsp:sp>
    <dsp:sp modelId="{8AF0E105-A16A-614F-9F50-33C446FC97DD}">
      <dsp:nvSpPr>
        <dsp:cNvPr id="0" name=""/>
        <dsp:cNvSpPr/>
      </dsp:nvSpPr>
      <dsp:spPr>
        <a:xfrm>
          <a:off x="14591770" y="3267266"/>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21234BA2-BC97-994E-8051-7A5DB50E6C0B}">
      <dsp:nvSpPr>
        <dsp:cNvPr id="0" name=""/>
        <dsp:cNvSpPr/>
      </dsp:nvSpPr>
      <dsp:spPr>
        <a:xfrm>
          <a:off x="14923270" y="3582191"/>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Visitors:</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2.0m</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4978759" y="3637680"/>
        <a:ext cx="2872519" cy="1783543"/>
      </dsp:txXfrm>
    </dsp:sp>
    <dsp:sp modelId="{F00C627A-CA09-774E-B3EA-B343D1757425}">
      <dsp:nvSpPr>
        <dsp:cNvPr id="0" name=""/>
        <dsp:cNvSpPr/>
      </dsp:nvSpPr>
      <dsp:spPr>
        <a:xfrm>
          <a:off x="12768522"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87D53768-DAC1-DD48-9C31-590E8B87F5E8}">
      <dsp:nvSpPr>
        <dsp:cNvPr id="0" name=""/>
        <dsp:cNvSpPr/>
      </dsp:nvSpPr>
      <dsp:spPr>
        <a:xfrm>
          <a:off x="13100022"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User acquisition:</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1.5m</a:t>
          </a:r>
          <a:endParaRPr lang="en-US" sz="2900" b="1" kern="1200" dirty="0">
            <a:solidFill>
              <a:schemeClr val="accent1">
                <a:lumMod val="50000"/>
              </a:schemeClr>
            </a:solidFill>
            <a:effectLst>
              <a:outerShdw blurRad="50800" dist="38100" dir="2700000" algn="tl" rotWithShape="0">
                <a:prstClr val="black">
                  <a:alpha val="40000"/>
                </a:prstClr>
              </a:outerShdw>
            </a:effectLst>
          </a:endParaRPr>
        </a:p>
      </dsp:txBody>
      <dsp:txXfrm>
        <a:off x="13155511" y="6399901"/>
        <a:ext cx="2872519" cy="1783543"/>
      </dsp:txXfrm>
    </dsp:sp>
    <dsp:sp modelId="{EA772503-3539-5E48-A49C-0DC39BAFCA0C}">
      <dsp:nvSpPr>
        <dsp:cNvPr id="0" name=""/>
        <dsp:cNvSpPr/>
      </dsp:nvSpPr>
      <dsp:spPr>
        <a:xfrm>
          <a:off x="16415019" y="6029487"/>
          <a:ext cx="2983497" cy="1894521"/>
        </a:xfrm>
        <a:prstGeom prst="roundRect">
          <a:avLst>
            <a:gd name="adj" fmla="val 10000"/>
          </a:avLst>
        </a:prstGeom>
        <a:solidFill>
          <a:schemeClr val="accent1">
            <a:hueOff val="0"/>
            <a:satOff val="0"/>
            <a:lumOff val="0"/>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sp>
    <dsp:sp modelId="{E08874E8-AAE7-6743-B9EF-1E82EF8809A9}">
      <dsp:nvSpPr>
        <dsp:cNvPr id="0" name=""/>
        <dsp:cNvSpPr/>
      </dsp:nvSpPr>
      <dsp:spPr>
        <a:xfrm>
          <a:off x="16746519" y="6344412"/>
          <a:ext cx="2983497" cy="1894521"/>
        </a:xfrm>
        <a:prstGeom prst="roundRect">
          <a:avLst>
            <a:gd name="adj" fmla="val 10000"/>
          </a:avLst>
        </a:prstGeom>
        <a:solidFill>
          <a:schemeClr val="accent5">
            <a:lumMod val="40000"/>
            <a:lumOff val="60000"/>
          </a:schemeClr>
        </a:solidFill>
        <a:ln w="9525" cap="flat" cmpd="sng" algn="ctr">
          <a:solidFill>
            <a:schemeClr val="accent1">
              <a:hueOff val="0"/>
              <a:satOff val="0"/>
              <a:lumOff val="0"/>
              <a:alphaOff val="0"/>
            </a:schemeClr>
          </a:solidFill>
          <a:prstDash val="solid"/>
        </a:ln>
        <a:effectLst/>
        <a:scene3d>
          <a:camera prst="orthographicFront"/>
          <a:lightRig rig="chilly" dir="t"/>
        </a:scene3d>
        <a:sp3d z="12700" extrusionH="1700" prstMaterial="dkEdge">
          <a:bevelT w="25400" h="6350" prst="softRound"/>
          <a:bevelB w="0" h="0" prst="convex"/>
        </a:sp3d>
      </dsp:spPr>
      <dsp:style>
        <a:lnRef idx="1">
          <a:scrgbClr r="0" g="0" b="0"/>
        </a:lnRef>
        <a:fillRef idx="1">
          <a:scrgbClr r="0" g="0" b="0"/>
        </a:fillRef>
        <a:effectRef idx="0">
          <a:scrgbClr r="0" g="0" b="0"/>
        </a:effectRef>
        <a:fontRef idx="minor"/>
      </dsp:style>
      <dsp:txBody>
        <a:bodyPr spcFirstLastPara="0" vert="horz" wrap="square" lIns="110490" tIns="110490" rIns="110490" bIns="110490" numCol="1" spcCol="1270" anchor="ctr" anchorCtr="0">
          <a:noAutofit/>
        </a:bodyPr>
        <a:lstStyle/>
        <a:p>
          <a:pPr lvl="0" algn="ctr" defTabSz="1289050">
            <a:lnSpc>
              <a:spcPct val="90000"/>
            </a:lnSpc>
            <a:spcBef>
              <a:spcPct val="0"/>
            </a:spcBef>
            <a:spcAft>
              <a:spcPct val="35000"/>
            </a:spcAft>
          </a:pPr>
          <a:r>
            <a:rPr lang="en-US" sz="2900" b="1" kern="1200" dirty="0" smtClean="0">
              <a:solidFill>
                <a:schemeClr val="accent1">
                  <a:lumMod val="50000"/>
                </a:schemeClr>
              </a:solidFill>
              <a:effectLst>
                <a:outerShdw blurRad="50800" dist="38100" dir="2700000" algn="tl" rotWithShape="0">
                  <a:prstClr val="black">
                    <a:alpha val="40000"/>
                  </a:prstClr>
                </a:outerShdw>
              </a:effectLst>
            </a:rPr>
            <a:t>User retention</a:t>
          </a:r>
          <a:br>
            <a:rPr lang="en-US" sz="2900" b="1" kern="1200" dirty="0" smtClean="0">
              <a:solidFill>
                <a:schemeClr val="accent1">
                  <a:lumMod val="50000"/>
                </a:schemeClr>
              </a:solidFill>
              <a:effectLst>
                <a:outerShdw blurRad="50800" dist="38100" dir="2700000" algn="tl" rotWithShape="0">
                  <a:prstClr val="black">
                    <a:alpha val="40000"/>
                  </a:prstClr>
                </a:outerShdw>
              </a:effectLst>
            </a:rPr>
          </a:br>
          <a:r>
            <a:rPr lang="en-US" sz="2900" b="0" kern="1200" dirty="0" smtClean="0">
              <a:solidFill>
                <a:schemeClr val="accent1">
                  <a:lumMod val="50000"/>
                </a:schemeClr>
              </a:solidFill>
              <a:effectLst>
                <a:outerShdw blurRad="50800" dist="38100" dir="2700000" algn="tl" rotWithShape="0">
                  <a:prstClr val="black">
                    <a:alpha val="40000"/>
                  </a:prstClr>
                </a:outerShdw>
              </a:effectLst>
            </a:rPr>
            <a:t>33%</a:t>
          </a:r>
          <a:endParaRPr lang="en-US" sz="2900" b="0" kern="1200" dirty="0">
            <a:solidFill>
              <a:schemeClr val="accent1">
                <a:lumMod val="50000"/>
              </a:schemeClr>
            </a:solidFill>
            <a:effectLst>
              <a:outerShdw blurRad="50800" dist="38100" dir="2700000" algn="tl" rotWithShape="0">
                <a:prstClr val="black">
                  <a:alpha val="40000"/>
                </a:prstClr>
              </a:outerShdw>
            </a:effectLst>
          </a:endParaRPr>
        </a:p>
      </dsp:txBody>
      <dsp:txXfrm>
        <a:off x="16802008" y="6399901"/>
        <a:ext cx="2872519" cy="178354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78B6250-CC18-0E46-995F-5DF2C1E43A04}">
      <dsp:nvSpPr>
        <dsp:cNvPr id="0" name=""/>
        <dsp:cNvSpPr/>
      </dsp:nvSpPr>
      <dsp:spPr>
        <a:xfrm>
          <a:off x="16063037" y="2991865"/>
          <a:ext cx="1169800" cy="556718"/>
        </a:xfrm>
        <a:custGeom>
          <a:avLst/>
          <a:gdLst/>
          <a:ahLst/>
          <a:cxnLst/>
          <a:rect l="0" t="0" r="0" b="0"/>
          <a:pathLst>
            <a:path>
              <a:moveTo>
                <a:pt x="0" y="0"/>
              </a:moveTo>
              <a:lnTo>
                <a:pt x="0" y="379387"/>
              </a:lnTo>
              <a:lnTo>
                <a:pt x="1169800" y="379387"/>
              </a:lnTo>
              <a:lnTo>
                <a:pt x="11698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38DABBF-EC07-CB47-A5F5-02B7B29DD5E3}">
      <dsp:nvSpPr>
        <dsp:cNvPr id="0" name=""/>
        <dsp:cNvSpPr/>
      </dsp:nvSpPr>
      <dsp:spPr>
        <a:xfrm>
          <a:off x="14893237" y="2991865"/>
          <a:ext cx="1169800" cy="556718"/>
        </a:xfrm>
        <a:custGeom>
          <a:avLst/>
          <a:gdLst/>
          <a:ahLst/>
          <a:cxnLst/>
          <a:rect l="0" t="0" r="0" b="0"/>
          <a:pathLst>
            <a:path>
              <a:moveTo>
                <a:pt x="1169800" y="0"/>
              </a:moveTo>
              <a:lnTo>
                <a:pt x="11698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197F8BB-2B0E-9041-A6D0-B7A812620968}">
      <dsp:nvSpPr>
        <dsp:cNvPr id="0" name=""/>
        <dsp:cNvSpPr/>
      </dsp:nvSpPr>
      <dsp:spPr>
        <a:xfrm>
          <a:off x="13111384" y="1219617"/>
          <a:ext cx="2951652" cy="556718"/>
        </a:xfrm>
        <a:custGeom>
          <a:avLst/>
          <a:gdLst/>
          <a:ahLst/>
          <a:cxnLst/>
          <a:rect l="0" t="0" r="0" b="0"/>
          <a:pathLst>
            <a:path>
              <a:moveTo>
                <a:pt x="0" y="0"/>
              </a:moveTo>
              <a:lnTo>
                <a:pt x="0" y="379387"/>
              </a:lnTo>
              <a:lnTo>
                <a:pt x="2951652" y="379387"/>
              </a:lnTo>
              <a:lnTo>
                <a:pt x="2951652" y="5567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B57C69E-B2B3-434D-9EAF-0BADCE2147AB}">
      <dsp:nvSpPr>
        <dsp:cNvPr id="0" name=""/>
        <dsp:cNvSpPr/>
      </dsp:nvSpPr>
      <dsp:spPr>
        <a:xfrm>
          <a:off x="14673199" y="8308607"/>
          <a:ext cx="2339600" cy="556718"/>
        </a:xfrm>
        <a:custGeom>
          <a:avLst/>
          <a:gdLst/>
          <a:ahLst/>
          <a:cxnLst/>
          <a:rect l="0" t="0" r="0" b="0"/>
          <a:pathLst>
            <a:path>
              <a:moveTo>
                <a:pt x="0" y="0"/>
              </a:moveTo>
              <a:lnTo>
                <a:pt x="0" y="379387"/>
              </a:lnTo>
              <a:lnTo>
                <a:pt x="2339600" y="379387"/>
              </a:lnTo>
              <a:lnTo>
                <a:pt x="23396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790E5D7-3ACB-0A42-A3B8-D8C2EDC3CD22}">
      <dsp:nvSpPr>
        <dsp:cNvPr id="0" name=""/>
        <dsp:cNvSpPr/>
      </dsp:nvSpPr>
      <dsp:spPr>
        <a:xfrm>
          <a:off x="14627479" y="8308607"/>
          <a:ext cx="91440" cy="556718"/>
        </a:xfrm>
        <a:custGeom>
          <a:avLst/>
          <a:gdLst/>
          <a:ahLst/>
          <a:cxnLst/>
          <a:rect l="0" t="0" r="0" b="0"/>
          <a:pathLst>
            <a:path>
              <a:moveTo>
                <a:pt x="45720" y="0"/>
              </a:moveTo>
              <a:lnTo>
                <a:pt x="4572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A02FE56-D544-224F-A18F-847CAC7A4D20}">
      <dsp:nvSpPr>
        <dsp:cNvPr id="0" name=""/>
        <dsp:cNvSpPr/>
      </dsp:nvSpPr>
      <dsp:spPr>
        <a:xfrm>
          <a:off x="12333599" y="8308607"/>
          <a:ext cx="2339600" cy="556718"/>
        </a:xfrm>
        <a:custGeom>
          <a:avLst/>
          <a:gdLst/>
          <a:ahLst/>
          <a:cxnLst/>
          <a:rect l="0" t="0" r="0" b="0"/>
          <a:pathLst>
            <a:path>
              <a:moveTo>
                <a:pt x="2339600" y="0"/>
              </a:moveTo>
              <a:lnTo>
                <a:pt x="23396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E061148-1C8A-844A-A111-794FC2BC8581}">
      <dsp:nvSpPr>
        <dsp:cNvPr id="0" name=""/>
        <dsp:cNvSpPr/>
      </dsp:nvSpPr>
      <dsp:spPr>
        <a:xfrm>
          <a:off x="13503399" y="6536359"/>
          <a:ext cx="1169800" cy="556718"/>
        </a:xfrm>
        <a:custGeom>
          <a:avLst/>
          <a:gdLst/>
          <a:ahLst/>
          <a:cxnLst/>
          <a:rect l="0" t="0" r="0" b="0"/>
          <a:pathLst>
            <a:path>
              <a:moveTo>
                <a:pt x="0" y="0"/>
              </a:moveTo>
              <a:lnTo>
                <a:pt x="0" y="379387"/>
              </a:lnTo>
              <a:lnTo>
                <a:pt x="1169800" y="379387"/>
              </a:lnTo>
              <a:lnTo>
                <a:pt x="11698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FE001E-C3E9-0A40-B305-4D6882F7340A}">
      <dsp:nvSpPr>
        <dsp:cNvPr id="0" name=""/>
        <dsp:cNvSpPr/>
      </dsp:nvSpPr>
      <dsp:spPr>
        <a:xfrm>
          <a:off x="12333599" y="6536359"/>
          <a:ext cx="1169800" cy="556718"/>
        </a:xfrm>
        <a:custGeom>
          <a:avLst/>
          <a:gdLst/>
          <a:ahLst/>
          <a:cxnLst/>
          <a:rect l="0" t="0" r="0" b="0"/>
          <a:pathLst>
            <a:path>
              <a:moveTo>
                <a:pt x="1169800" y="0"/>
              </a:moveTo>
              <a:lnTo>
                <a:pt x="11698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497AA1-03A6-5A43-AAA1-C4399ED77A09}">
      <dsp:nvSpPr>
        <dsp:cNvPr id="0" name=""/>
        <dsp:cNvSpPr/>
      </dsp:nvSpPr>
      <dsp:spPr>
        <a:xfrm>
          <a:off x="11163799" y="4764112"/>
          <a:ext cx="2339600" cy="556718"/>
        </a:xfrm>
        <a:custGeom>
          <a:avLst/>
          <a:gdLst/>
          <a:ahLst/>
          <a:cxnLst/>
          <a:rect l="0" t="0" r="0" b="0"/>
          <a:pathLst>
            <a:path>
              <a:moveTo>
                <a:pt x="0" y="0"/>
              </a:moveTo>
              <a:lnTo>
                <a:pt x="0" y="379387"/>
              </a:lnTo>
              <a:lnTo>
                <a:pt x="2339600" y="379387"/>
              </a:lnTo>
              <a:lnTo>
                <a:pt x="23396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DF2B85-0B3E-6A43-B1AD-667053AB4410}">
      <dsp:nvSpPr>
        <dsp:cNvPr id="0" name=""/>
        <dsp:cNvSpPr/>
      </dsp:nvSpPr>
      <dsp:spPr>
        <a:xfrm>
          <a:off x="8824198" y="6536359"/>
          <a:ext cx="1169800" cy="556718"/>
        </a:xfrm>
        <a:custGeom>
          <a:avLst/>
          <a:gdLst/>
          <a:ahLst/>
          <a:cxnLst/>
          <a:rect l="0" t="0" r="0" b="0"/>
          <a:pathLst>
            <a:path>
              <a:moveTo>
                <a:pt x="0" y="0"/>
              </a:moveTo>
              <a:lnTo>
                <a:pt x="0" y="379387"/>
              </a:lnTo>
              <a:lnTo>
                <a:pt x="1169800" y="379387"/>
              </a:lnTo>
              <a:lnTo>
                <a:pt x="11698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12D4EBB-84C0-1E49-8532-28927243284C}">
      <dsp:nvSpPr>
        <dsp:cNvPr id="0" name=""/>
        <dsp:cNvSpPr/>
      </dsp:nvSpPr>
      <dsp:spPr>
        <a:xfrm>
          <a:off x="7654398" y="8308607"/>
          <a:ext cx="2339600" cy="556718"/>
        </a:xfrm>
        <a:custGeom>
          <a:avLst/>
          <a:gdLst/>
          <a:ahLst/>
          <a:cxnLst/>
          <a:rect l="0" t="0" r="0" b="0"/>
          <a:pathLst>
            <a:path>
              <a:moveTo>
                <a:pt x="0" y="0"/>
              </a:moveTo>
              <a:lnTo>
                <a:pt x="0" y="379387"/>
              </a:lnTo>
              <a:lnTo>
                <a:pt x="2339600" y="379387"/>
              </a:lnTo>
              <a:lnTo>
                <a:pt x="23396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3DD3EBE-683D-D148-AC4B-02C00CBC086B}">
      <dsp:nvSpPr>
        <dsp:cNvPr id="0" name=""/>
        <dsp:cNvSpPr/>
      </dsp:nvSpPr>
      <dsp:spPr>
        <a:xfrm>
          <a:off x="7608678" y="8308607"/>
          <a:ext cx="91440" cy="556718"/>
        </a:xfrm>
        <a:custGeom>
          <a:avLst/>
          <a:gdLst/>
          <a:ahLst/>
          <a:cxnLst/>
          <a:rect l="0" t="0" r="0" b="0"/>
          <a:pathLst>
            <a:path>
              <a:moveTo>
                <a:pt x="45720" y="0"/>
              </a:moveTo>
              <a:lnTo>
                <a:pt x="4572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73B3C84-FD93-4E4C-B24B-7C32700A2744}">
      <dsp:nvSpPr>
        <dsp:cNvPr id="0" name=""/>
        <dsp:cNvSpPr/>
      </dsp:nvSpPr>
      <dsp:spPr>
        <a:xfrm>
          <a:off x="5314797" y="8308607"/>
          <a:ext cx="2339600" cy="556718"/>
        </a:xfrm>
        <a:custGeom>
          <a:avLst/>
          <a:gdLst/>
          <a:ahLst/>
          <a:cxnLst/>
          <a:rect l="0" t="0" r="0" b="0"/>
          <a:pathLst>
            <a:path>
              <a:moveTo>
                <a:pt x="2339600" y="0"/>
              </a:moveTo>
              <a:lnTo>
                <a:pt x="23396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C94D77-376C-664B-B617-E9DD7A4E7B1F}">
      <dsp:nvSpPr>
        <dsp:cNvPr id="0" name=""/>
        <dsp:cNvSpPr/>
      </dsp:nvSpPr>
      <dsp:spPr>
        <a:xfrm>
          <a:off x="7654398" y="6536359"/>
          <a:ext cx="1169800" cy="556718"/>
        </a:xfrm>
        <a:custGeom>
          <a:avLst/>
          <a:gdLst/>
          <a:ahLst/>
          <a:cxnLst/>
          <a:rect l="0" t="0" r="0" b="0"/>
          <a:pathLst>
            <a:path>
              <a:moveTo>
                <a:pt x="1169800" y="0"/>
              </a:moveTo>
              <a:lnTo>
                <a:pt x="11698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B891F52-CC19-764F-AAB9-7ACED231CE3C}">
      <dsp:nvSpPr>
        <dsp:cNvPr id="0" name=""/>
        <dsp:cNvSpPr/>
      </dsp:nvSpPr>
      <dsp:spPr>
        <a:xfrm>
          <a:off x="8824198" y="4764112"/>
          <a:ext cx="2339600" cy="556718"/>
        </a:xfrm>
        <a:custGeom>
          <a:avLst/>
          <a:gdLst/>
          <a:ahLst/>
          <a:cxnLst/>
          <a:rect l="0" t="0" r="0" b="0"/>
          <a:pathLst>
            <a:path>
              <a:moveTo>
                <a:pt x="2339600" y="0"/>
              </a:moveTo>
              <a:lnTo>
                <a:pt x="23396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332FBA9-AE39-004F-9412-F8F017508D56}">
      <dsp:nvSpPr>
        <dsp:cNvPr id="0" name=""/>
        <dsp:cNvSpPr/>
      </dsp:nvSpPr>
      <dsp:spPr>
        <a:xfrm>
          <a:off x="9993998" y="2991865"/>
          <a:ext cx="1169800" cy="556718"/>
        </a:xfrm>
        <a:custGeom>
          <a:avLst/>
          <a:gdLst/>
          <a:ahLst/>
          <a:cxnLst/>
          <a:rect l="0" t="0" r="0" b="0"/>
          <a:pathLst>
            <a:path>
              <a:moveTo>
                <a:pt x="0" y="0"/>
              </a:moveTo>
              <a:lnTo>
                <a:pt x="0" y="379387"/>
              </a:lnTo>
              <a:lnTo>
                <a:pt x="1169800" y="379387"/>
              </a:lnTo>
              <a:lnTo>
                <a:pt x="116980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083B41E-2B5A-1F48-9CB4-2224C3C89A53}">
      <dsp:nvSpPr>
        <dsp:cNvPr id="0" name=""/>
        <dsp:cNvSpPr/>
      </dsp:nvSpPr>
      <dsp:spPr>
        <a:xfrm>
          <a:off x="8824198" y="2991865"/>
          <a:ext cx="1169800" cy="556718"/>
        </a:xfrm>
        <a:custGeom>
          <a:avLst/>
          <a:gdLst/>
          <a:ahLst/>
          <a:cxnLst/>
          <a:rect l="0" t="0" r="0" b="0"/>
          <a:pathLst>
            <a:path>
              <a:moveTo>
                <a:pt x="1169800" y="0"/>
              </a:moveTo>
              <a:lnTo>
                <a:pt x="1169800" y="379387"/>
              </a:lnTo>
              <a:lnTo>
                <a:pt x="0" y="379387"/>
              </a:lnTo>
              <a:lnTo>
                <a:pt x="0" y="556718"/>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753DE0D-DEFD-BE46-B86B-A16CEA7A5DF4}">
      <dsp:nvSpPr>
        <dsp:cNvPr id="0" name=""/>
        <dsp:cNvSpPr/>
      </dsp:nvSpPr>
      <dsp:spPr>
        <a:xfrm>
          <a:off x="9993998" y="1219617"/>
          <a:ext cx="3117385" cy="556718"/>
        </a:xfrm>
        <a:custGeom>
          <a:avLst/>
          <a:gdLst/>
          <a:ahLst/>
          <a:cxnLst/>
          <a:rect l="0" t="0" r="0" b="0"/>
          <a:pathLst>
            <a:path>
              <a:moveTo>
                <a:pt x="3117385" y="0"/>
              </a:moveTo>
              <a:lnTo>
                <a:pt x="3117385" y="379387"/>
              </a:lnTo>
              <a:lnTo>
                <a:pt x="0" y="379387"/>
              </a:lnTo>
              <a:lnTo>
                <a:pt x="0" y="55671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4439E30-1CA4-564F-A1C2-36FE9AA485D0}">
      <dsp:nvSpPr>
        <dsp:cNvPr id="0" name=""/>
        <dsp:cNvSpPr/>
      </dsp:nvSpPr>
      <dsp:spPr>
        <a:xfrm>
          <a:off x="12154275" y="4088"/>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5031592-DE8B-564A-92B2-E56F91AA9611}">
      <dsp:nvSpPr>
        <dsp:cNvPr id="0" name=""/>
        <dsp:cNvSpPr/>
      </dsp:nvSpPr>
      <dsp:spPr>
        <a:xfrm>
          <a:off x="12366966" y="206145"/>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ontract EBITA</a:t>
          </a:r>
          <a:endParaRPr lang="en-US" sz="2000" kern="1200" dirty="0"/>
        </a:p>
      </dsp:txBody>
      <dsp:txXfrm>
        <a:off x="12402568" y="241747"/>
        <a:ext cx="1843014" cy="1144324"/>
      </dsp:txXfrm>
    </dsp:sp>
    <dsp:sp modelId="{3867FE00-65C5-0640-9651-6CDF12167571}">
      <dsp:nvSpPr>
        <dsp:cNvPr id="0" name=""/>
        <dsp:cNvSpPr/>
      </dsp:nvSpPr>
      <dsp:spPr>
        <a:xfrm>
          <a:off x="9036889" y="1776336"/>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3DDEA5-F425-3446-8EDE-FCF66971D0F9}">
      <dsp:nvSpPr>
        <dsp:cNvPr id="0" name=""/>
        <dsp:cNvSpPr/>
      </dsp:nvSpPr>
      <dsp:spPr>
        <a:xfrm>
          <a:off x="9249580" y="197839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Revenue</a:t>
          </a:r>
          <a:endParaRPr lang="en-US" sz="2000" kern="1200" dirty="0"/>
        </a:p>
      </dsp:txBody>
      <dsp:txXfrm>
        <a:off x="9285182" y="2013994"/>
        <a:ext cx="1843014" cy="1144324"/>
      </dsp:txXfrm>
    </dsp:sp>
    <dsp:sp modelId="{503EBDB7-A1DF-2546-998C-6EC85E54F0D4}">
      <dsp:nvSpPr>
        <dsp:cNvPr id="0" name=""/>
        <dsp:cNvSpPr/>
      </dsp:nvSpPr>
      <dsp:spPr>
        <a:xfrm>
          <a:off x="7867089" y="3548583"/>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8870230-33BD-DC4F-A768-0B722E8F5B52}">
      <dsp:nvSpPr>
        <dsp:cNvPr id="0" name=""/>
        <dsp:cNvSpPr/>
      </dsp:nvSpPr>
      <dsp:spPr>
        <a:xfrm>
          <a:off x="8079780" y="3750640"/>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ead Quality</a:t>
          </a:r>
          <a:endParaRPr lang="en-US" sz="2000" kern="1200" dirty="0"/>
        </a:p>
      </dsp:txBody>
      <dsp:txXfrm>
        <a:off x="8115382" y="3786242"/>
        <a:ext cx="1843014" cy="1144324"/>
      </dsp:txXfrm>
    </dsp:sp>
    <dsp:sp modelId="{47209852-F2C8-CB4C-9E0C-0F3372FBFC44}">
      <dsp:nvSpPr>
        <dsp:cNvPr id="0" name=""/>
        <dsp:cNvSpPr/>
      </dsp:nvSpPr>
      <dsp:spPr>
        <a:xfrm>
          <a:off x="10206689" y="3548583"/>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9C031B-A432-E04B-8A50-3B732AF1A6BE}">
      <dsp:nvSpPr>
        <dsp:cNvPr id="0" name=""/>
        <dsp:cNvSpPr/>
      </dsp:nvSpPr>
      <dsp:spPr>
        <a:xfrm>
          <a:off x="10419380" y="3750640"/>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Sign-up Rate</a:t>
          </a:r>
          <a:endParaRPr lang="en-US" sz="2000" kern="1200" dirty="0"/>
        </a:p>
      </dsp:txBody>
      <dsp:txXfrm>
        <a:off x="10454982" y="3786242"/>
        <a:ext cx="1843014" cy="1144324"/>
      </dsp:txXfrm>
    </dsp:sp>
    <dsp:sp modelId="{A04C38D2-B238-7341-809D-6E982D2CEBBE}">
      <dsp:nvSpPr>
        <dsp:cNvPr id="0" name=""/>
        <dsp:cNvSpPr/>
      </dsp:nvSpPr>
      <dsp:spPr>
        <a:xfrm>
          <a:off x="7867089" y="5320831"/>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707D6B-51BE-9945-811B-2813CC24F399}">
      <dsp:nvSpPr>
        <dsp:cNvPr id="0" name=""/>
        <dsp:cNvSpPr/>
      </dsp:nvSpPr>
      <dsp:spPr>
        <a:xfrm>
          <a:off x="8079780" y="5522887"/>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ead-gen Sessions</a:t>
          </a:r>
          <a:endParaRPr lang="en-US" sz="2000" kern="1200" dirty="0"/>
        </a:p>
      </dsp:txBody>
      <dsp:txXfrm>
        <a:off x="8115382" y="5558489"/>
        <a:ext cx="1843014" cy="1144324"/>
      </dsp:txXfrm>
    </dsp:sp>
    <dsp:sp modelId="{F38E57DC-BF51-9245-BDAF-073F7F1C2273}">
      <dsp:nvSpPr>
        <dsp:cNvPr id="0" name=""/>
        <dsp:cNvSpPr/>
      </dsp:nvSpPr>
      <dsp:spPr>
        <a:xfrm>
          <a:off x="6697288" y="7093078"/>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E716B40-110C-7448-A2D5-CA37EA171223}">
      <dsp:nvSpPr>
        <dsp:cNvPr id="0" name=""/>
        <dsp:cNvSpPr/>
      </dsp:nvSpPr>
      <dsp:spPr>
        <a:xfrm>
          <a:off x="6909979" y="7295134"/>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Total sessions</a:t>
          </a:r>
          <a:endParaRPr lang="en-US" sz="2000" kern="1200" dirty="0"/>
        </a:p>
      </dsp:txBody>
      <dsp:txXfrm>
        <a:off x="6945581" y="7330736"/>
        <a:ext cx="1843014" cy="1144324"/>
      </dsp:txXfrm>
    </dsp:sp>
    <dsp:sp modelId="{8EBE9145-C987-BB40-8CA9-209A01DF22A0}">
      <dsp:nvSpPr>
        <dsp:cNvPr id="0" name=""/>
        <dsp:cNvSpPr/>
      </dsp:nvSpPr>
      <dsp:spPr>
        <a:xfrm>
          <a:off x="4357688"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AE5C9D-2F01-7A4F-865D-708C3E717BBC}">
      <dsp:nvSpPr>
        <dsp:cNvPr id="0" name=""/>
        <dsp:cNvSpPr/>
      </dsp:nvSpPr>
      <dsp:spPr>
        <a:xfrm>
          <a:off x="4570379"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Direct</a:t>
          </a:r>
          <a:endParaRPr lang="en-US" sz="2000" kern="1200" dirty="0"/>
        </a:p>
      </dsp:txBody>
      <dsp:txXfrm>
        <a:off x="4605981" y="9102984"/>
        <a:ext cx="1843014" cy="1144324"/>
      </dsp:txXfrm>
    </dsp:sp>
    <dsp:sp modelId="{E6904EC9-0367-9841-930E-429936332EB9}">
      <dsp:nvSpPr>
        <dsp:cNvPr id="0" name=""/>
        <dsp:cNvSpPr/>
      </dsp:nvSpPr>
      <dsp:spPr>
        <a:xfrm>
          <a:off x="6697288"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56AFBC-800E-7248-BCE2-35600C46870E}">
      <dsp:nvSpPr>
        <dsp:cNvPr id="0" name=""/>
        <dsp:cNvSpPr/>
      </dsp:nvSpPr>
      <dsp:spPr>
        <a:xfrm>
          <a:off x="6909979"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Organic</a:t>
          </a:r>
          <a:endParaRPr lang="en-US" sz="2000" kern="1200" dirty="0"/>
        </a:p>
      </dsp:txBody>
      <dsp:txXfrm>
        <a:off x="6945581" y="9102984"/>
        <a:ext cx="1843014" cy="1144324"/>
      </dsp:txXfrm>
    </dsp:sp>
    <dsp:sp modelId="{2F084B45-5845-A64D-80AB-1952062786E5}">
      <dsp:nvSpPr>
        <dsp:cNvPr id="0" name=""/>
        <dsp:cNvSpPr/>
      </dsp:nvSpPr>
      <dsp:spPr>
        <a:xfrm>
          <a:off x="9036889"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F44457-B715-9548-B37C-C59CFA1604B1}">
      <dsp:nvSpPr>
        <dsp:cNvPr id="0" name=""/>
        <dsp:cNvSpPr/>
      </dsp:nvSpPr>
      <dsp:spPr>
        <a:xfrm>
          <a:off x="9249580"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Search</a:t>
          </a:r>
          <a:endParaRPr lang="en-US" sz="2000" kern="1200" dirty="0"/>
        </a:p>
      </dsp:txBody>
      <dsp:txXfrm>
        <a:off x="9285182" y="9102984"/>
        <a:ext cx="1843014" cy="1144324"/>
      </dsp:txXfrm>
    </dsp:sp>
    <dsp:sp modelId="{E37F2F3E-E54C-6748-BF95-CC3531B4337E}">
      <dsp:nvSpPr>
        <dsp:cNvPr id="0" name=""/>
        <dsp:cNvSpPr/>
      </dsp:nvSpPr>
      <dsp:spPr>
        <a:xfrm>
          <a:off x="9036889" y="7093078"/>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29F8D02-CB32-6D46-8B6D-020F81C60CE6}">
      <dsp:nvSpPr>
        <dsp:cNvPr id="0" name=""/>
        <dsp:cNvSpPr/>
      </dsp:nvSpPr>
      <dsp:spPr>
        <a:xfrm>
          <a:off x="9249580" y="7295134"/>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ead-gen CTR</a:t>
          </a:r>
          <a:endParaRPr lang="en-US" sz="2000" kern="1200" dirty="0"/>
        </a:p>
      </dsp:txBody>
      <dsp:txXfrm>
        <a:off x="9285182" y="7330736"/>
        <a:ext cx="1843014" cy="1144324"/>
      </dsp:txXfrm>
    </dsp:sp>
    <dsp:sp modelId="{8D80B4F5-F91C-AE49-B862-95569F623D55}">
      <dsp:nvSpPr>
        <dsp:cNvPr id="0" name=""/>
        <dsp:cNvSpPr/>
      </dsp:nvSpPr>
      <dsp:spPr>
        <a:xfrm>
          <a:off x="12546290" y="5320831"/>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6735CAD-72E9-7D4A-AFDC-3DBB66C6A2F0}">
      <dsp:nvSpPr>
        <dsp:cNvPr id="0" name=""/>
        <dsp:cNvSpPr/>
      </dsp:nvSpPr>
      <dsp:spPr>
        <a:xfrm>
          <a:off x="12758981" y="5522887"/>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Lead-gen Conversion Rate</a:t>
          </a:r>
          <a:endParaRPr lang="en-US" sz="2000" kern="1200" dirty="0"/>
        </a:p>
      </dsp:txBody>
      <dsp:txXfrm>
        <a:off x="12794583" y="5558489"/>
        <a:ext cx="1843014" cy="1144324"/>
      </dsp:txXfrm>
    </dsp:sp>
    <dsp:sp modelId="{8128280E-173A-4949-86F3-65B286589C9A}">
      <dsp:nvSpPr>
        <dsp:cNvPr id="0" name=""/>
        <dsp:cNvSpPr/>
      </dsp:nvSpPr>
      <dsp:spPr>
        <a:xfrm>
          <a:off x="11376489" y="7093078"/>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898601-6BDD-AE43-A6A9-5D381BC1DE04}">
      <dsp:nvSpPr>
        <dsp:cNvPr id="0" name=""/>
        <dsp:cNvSpPr/>
      </dsp:nvSpPr>
      <dsp:spPr>
        <a:xfrm>
          <a:off x="11589180" y="7295134"/>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 of Steps</a:t>
          </a:r>
          <a:endParaRPr lang="en-US" sz="2000" kern="1200" dirty="0"/>
        </a:p>
      </dsp:txBody>
      <dsp:txXfrm>
        <a:off x="11624782" y="7330736"/>
        <a:ext cx="1843014" cy="1144324"/>
      </dsp:txXfrm>
    </dsp:sp>
    <dsp:sp modelId="{7C2ED2A0-CE4E-764B-98C8-D7E4B3D28436}">
      <dsp:nvSpPr>
        <dsp:cNvPr id="0" name=""/>
        <dsp:cNvSpPr/>
      </dsp:nvSpPr>
      <dsp:spPr>
        <a:xfrm>
          <a:off x="13716090" y="7093078"/>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E7F6D0-FA53-1944-80CA-9D6847E43F5A}">
      <dsp:nvSpPr>
        <dsp:cNvPr id="0" name=""/>
        <dsp:cNvSpPr/>
      </dsp:nvSpPr>
      <dsp:spPr>
        <a:xfrm>
          <a:off x="13928781" y="7295134"/>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ompletion % per Step</a:t>
          </a:r>
          <a:endParaRPr lang="en-US" sz="2000" kern="1200" dirty="0"/>
        </a:p>
      </dsp:txBody>
      <dsp:txXfrm>
        <a:off x="13964383" y="7330736"/>
        <a:ext cx="1843014" cy="1144324"/>
      </dsp:txXfrm>
    </dsp:sp>
    <dsp:sp modelId="{C0BBA504-6999-0242-A089-31DB04D6A9DC}">
      <dsp:nvSpPr>
        <dsp:cNvPr id="0" name=""/>
        <dsp:cNvSpPr/>
      </dsp:nvSpPr>
      <dsp:spPr>
        <a:xfrm>
          <a:off x="11376489"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DD6F5A-8C47-B94E-B0F4-328F4D07F3F6}">
      <dsp:nvSpPr>
        <dsp:cNvPr id="0" name=""/>
        <dsp:cNvSpPr/>
      </dsp:nvSpPr>
      <dsp:spPr>
        <a:xfrm>
          <a:off x="11589180"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TA Effectiveness</a:t>
          </a:r>
          <a:endParaRPr lang="en-US" sz="2000" kern="1200" dirty="0"/>
        </a:p>
      </dsp:txBody>
      <dsp:txXfrm>
        <a:off x="11624782" y="9102984"/>
        <a:ext cx="1843014" cy="1144324"/>
      </dsp:txXfrm>
    </dsp:sp>
    <dsp:sp modelId="{BADB9149-ACE4-2746-BB80-2E7699986DCD}">
      <dsp:nvSpPr>
        <dsp:cNvPr id="0" name=""/>
        <dsp:cNvSpPr/>
      </dsp:nvSpPr>
      <dsp:spPr>
        <a:xfrm>
          <a:off x="13716090"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536576-2323-5247-883A-40FCAD02054B}">
      <dsp:nvSpPr>
        <dsp:cNvPr id="0" name=""/>
        <dsp:cNvSpPr/>
      </dsp:nvSpPr>
      <dsp:spPr>
        <a:xfrm>
          <a:off x="13928781"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omplexity of CTA</a:t>
          </a:r>
          <a:endParaRPr lang="en-US" sz="2000" kern="1200" dirty="0"/>
        </a:p>
      </dsp:txBody>
      <dsp:txXfrm>
        <a:off x="13964383" y="9102984"/>
        <a:ext cx="1843014" cy="1144324"/>
      </dsp:txXfrm>
    </dsp:sp>
    <dsp:sp modelId="{707FD993-DC1D-474C-9CDF-2024E56685BF}">
      <dsp:nvSpPr>
        <dsp:cNvPr id="0" name=""/>
        <dsp:cNvSpPr/>
      </dsp:nvSpPr>
      <dsp:spPr>
        <a:xfrm>
          <a:off x="16055691" y="8865325"/>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26FAC72-D1BE-5547-99A8-EFAA0D51C233}">
      <dsp:nvSpPr>
        <dsp:cNvPr id="0" name=""/>
        <dsp:cNvSpPr/>
      </dsp:nvSpPr>
      <dsp:spPr>
        <a:xfrm>
          <a:off x="16268382" y="906738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Amount of Distractions</a:t>
          </a:r>
          <a:endParaRPr lang="en-US" sz="2000" kern="1200" dirty="0"/>
        </a:p>
      </dsp:txBody>
      <dsp:txXfrm>
        <a:off x="16303984" y="9102984"/>
        <a:ext cx="1843014" cy="1144324"/>
      </dsp:txXfrm>
    </dsp:sp>
    <dsp:sp modelId="{94666250-0917-7942-A92F-32F21DE90780}">
      <dsp:nvSpPr>
        <dsp:cNvPr id="0" name=""/>
        <dsp:cNvSpPr/>
      </dsp:nvSpPr>
      <dsp:spPr>
        <a:xfrm>
          <a:off x="15105928" y="1776336"/>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DD5371C-E5E3-4B4C-8E46-6949F5C56386}">
      <dsp:nvSpPr>
        <dsp:cNvPr id="0" name=""/>
        <dsp:cNvSpPr/>
      </dsp:nvSpPr>
      <dsp:spPr>
        <a:xfrm>
          <a:off x="15318619" y="1978392"/>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Margin</a:t>
          </a:r>
          <a:endParaRPr lang="en-US" sz="2000" kern="1200" dirty="0"/>
        </a:p>
      </dsp:txBody>
      <dsp:txXfrm>
        <a:off x="15354221" y="2013994"/>
        <a:ext cx="1843014" cy="1144324"/>
      </dsp:txXfrm>
    </dsp:sp>
    <dsp:sp modelId="{283F9657-8411-BA45-ADFE-7BC79F816CCA}">
      <dsp:nvSpPr>
        <dsp:cNvPr id="0" name=""/>
        <dsp:cNvSpPr/>
      </dsp:nvSpPr>
      <dsp:spPr>
        <a:xfrm>
          <a:off x="13936127" y="3548583"/>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16658CB-EA14-FA47-BBEE-45DDB94BC1C5}">
      <dsp:nvSpPr>
        <dsp:cNvPr id="0" name=""/>
        <dsp:cNvSpPr/>
      </dsp:nvSpPr>
      <dsp:spPr>
        <a:xfrm>
          <a:off x="14148818" y="3750640"/>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Customer segments</a:t>
          </a:r>
          <a:endParaRPr lang="en-US" sz="2000" kern="1200" dirty="0"/>
        </a:p>
      </dsp:txBody>
      <dsp:txXfrm>
        <a:off x="14184420" y="3786242"/>
        <a:ext cx="1843014" cy="1144324"/>
      </dsp:txXfrm>
    </dsp:sp>
    <dsp:sp modelId="{70D8FBF9-E63B-5844-8706-1BD276D9BF05}">
      <dsp:nvSpPr>
        <dsp:cNvPr id="0" name=""/>
        <dsp:cNvSpPr/>
      </dsp:nvSpPr>
      <dsp:spPr>
        <a:xfrm>
          <a:off x="16275728" y="3548583"/>
          <a:ext cx="1914218" cy="121552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DF1005-6EB9-E64A-B9C4-399B67FD1BC4}">
      <dsp:nvSpPr>
        <dsp:cNvPr id="0" name=""/>
        <dsp:cNvSpPr/>
      </dsp:nvSpPr>
      <dsp:spPr>
        <a:xfrm>
          <a:off x="16488419" y="3750640"/>
          <a:ext cx="1914218" cy="1215528"/>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Segment profitability</a:t>
          </a:r>
          <a:endParaRPr lang="en-US" sz="2000" kern="1200" dirty="0"/>
        </a:p>
      </dsp:txBody>
      <dsp:txXfrm>
        <a:off x="16524021" y="3786242"/>
        <a:ext cx="1843014" cy="11443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01F31-B493-FC4F-BA98-4DA93A046699}">
      <dsp:nvSpPr>
        <dsp:cNvPr id="0" name=""/>
        <dsp:cNvSpPr/>
      </dsp:nvSpPr>
      <dsp:spPr>
        <a:xfrm>
          <a:off x="17501610"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80B93D-D000-8B4B-8100-E0B67DB0E877}">
      <dsp:nvSpPr>
        <dsp:cNvPr id="0" name=""/>
        <dsp:cNvSpPr/>
      </dsp:nvSpPr>
      <dsp:spPr>
        <a:xfrm>
          <a:off x="17501610"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EACF5C-66CA-3E4D-8C5C-FF5941FDB285}">
      <dsp:nvSpPr>
        <dsp:cNvPr id="0" name=""/>
        <dsp:cNvSpPr/>
      </dsp:nvSpPr>
      <dsp:spPr>
        <a:xfrm>
          <a:off x="17501610"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0BC2B8-08A5-504D-8B97-A8DFE6F2353D}">
      <dsp:nvSpPr>
        <dsp:cNvPr id="0" name=""/>
        <dsp:cNvSpPr/>
      </dsp:nvSpPr>
      <dsp:spPr>
        <a:xfrm>
          <a:off x="10075740" y="2916317"/>
          <a:ext cx="8600657" cy="503295"/>
        </a:xfrm>
        <a:custGeom>
          <a:avLst/>
          <a:gdLst/>
          <a:ahLst/>
          <a:cxnLst/>
          <a:rect l="0" t="0" r="0" b="0"/>
          <a:pathLst>
            <a:path>
              <a:moveTo>
                <a:pt x="0" y="0"/>
              </a:moveTo>
              <a:lnTo>
                <a:pt x="0" y="251647"/>
              </a:lnTo>
              <a:lnTo>
                <a:pt x="8600657" y="251647"/>
              </a:lnTo>
              <a:lnTo>
                <a:pt x="8600657"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969C0C-C4EF-8044-B112-A2052B5FA261}">
      <dsp:nvSpPr>
        <dsp:cNvPr id="0" name=""/>
        <dsp:cNvSpPr/>
      </dsp:nvSpPr>
      <dsp:spPr>
        <a:xfrm>
          <a:off x="14061347"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40B106-7C72-9547-AE5A-A590A6A7292B}">
      <dsp:nvSpPr>
        <dsp:cNvPr id="0" name=""/>
        <dsp:cNvSpPr/>
      </dsp:nvSpPr>
      <dsp:spPr>
        <a:xfrm>
          <a:off x="14061347"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6E45F-C07E-304C-AB67-8E8552A42778}">
      <dsp:nvSpPr>
        <dsp:cNvPr id="0" name=""/>
        <dsp:cNvSpPr/>
      </dsp:nvSpPr>
      <dsp:spPr>
        <a:xfrm>
          <a:off x="14061347"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80E8B4-F1B6-8246-9806-7D2D0CB68815}">
      <dsp:nvSpPr>
        <dsp:cNvPr id="0" name=""/>
        <dsp:cNvSpPr/>
      </dsp:nvSpPr>
      <dsp:spPr>
        <a:xfrm>
          <a:off x="10075740" y="2916317"/>
          <a:ext cx="5160394" cy="503295"/>
        </a:xfrm>
        <a:custGeom>
          <a:avLst/>
          <a:gdLst/>
          <a:ahLst/>
          <a:cxnLst/>
          <a:rect l="0" t="0" r="0" b="0"/>
          <a:pathLst>
            <a:path>
              <a:moveTo>
                <a:pt x="0" y="0"/>
              </a:moveTo>
              <a:lnTo>
                <a:pt x="0" y="251647"/>
              </a:lnTo>
              <a:lnTo>
                <a:pt x="5160394" y="251647"/>
              </a:lnTo>
              <a:lnTo>
                <a:pt x="5160394"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F62F60-4DCC-6C46-AE65-EDFFE870F1F4}">
      <dsp:nvSpPr>
        <dsp:cNvPr id="0" name=""/>
        <dsp:cNvSpPr/>
      </dsp:nvSpPr>
      <dsp:spPr>
        <a:xfrm>
          <a:off x="10621084"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9BEE53-E580-D245-BCCD-590C85D76065}">
      <dsp:nvSpPr>
        <dsp:cNvPr id="0" name=""/>
        <dsp:cNvSpPr/>
      </dsp:nvSpPr>
      <dsp:spPr>
        <a:xfrm>
          <a:off x="10621084"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5B0F12-5DDA-9943-9092-2A10F2FE9601}">
      <dsp:nvSpPr>
        <dsp:cNvPr id="0" name=""/>
        <dsp:cNvSpPr/>
      </dsp:nvSpPr>
      <dsp:spPr>
        <a:xfrm>
          <a:off x="10621084"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3D0151-0AF0-7A44-BCE6-C10462839127}">
      <dsp:nvSpPr>
        <dsp:cNvPr id="0" name=""/>
        <dsp:cNvSpPr/>
      </dsp:nvSpPr>
      <dsp:spPr>
        <a:xfrm>
          <a:off x="10075740" y="2916317"/>
          <a:ext cx="1720131" cy="503295"/>
        </a:xfrm>
        <a:custGeom>
          <a:avLst/>
          <a:gdLst/>
          <a:ahLst/>
          <a:cxnLst/>
          <a:rect l="0" t="0" r="0" b="0"/>
          <a:pathLst>
            <a:path>
              <a:moveTo>
                <a:pt x="0" y="0"/>
              </a:moveTo>
              <a:lnTo>
                <a:pt x="0" y="251647"/>
              </a:lnTo>
              <a:lnTo>
                <a:pt x="1720131" y="251647"/>
              </a:lnTo>
              <a:lnTo>
                <a:pt x="1720131"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30E2EE-B0D1-364F-B6DF-876E246B6AE1}">
      <dsp:nvSpPr>
        <dsp:cNvPr id="0" name=""/>
        <dsp:cNvSpPr/>
      </dsp:nvSpPr>
      <dsp:spPr>
        <a:xfrm>
          <a:off x="7180821"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F0079-A483-7E48-A321-97C36DBA0475}">
      <dsp:nvSpPr>
        <dsp:cNvPr id="0" name=""/>
        <dsp:cNvSpPr/>
      </dsp:nvSpPr>
      <dsp:spPr>
        <a:xfrm>
          <a:off x="7180821"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2CB30F-6901-594F-8775-B46F34227BC9}">
      <dsp:nvSpPr>
        <dsp:cNvPr id="0" name=""/>
        <dsp:cNvSpPr/>
      </dsp:nvSpPr>
      <dsp:spPr>
        <a:xfrm>
          <a:off x="7180821"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491EA-604E-6842-9866-DF2E9CD33930}">
      <dsp:nvSpPr>
        <dsp:cNvPr id="0" name=""/>
        <dsp:cNvSpPr/>
      </dsp:nvSpPr>
      <dsp:spPr>
        <a:xfrm>
          <a:off x="8355608" y="2916317"/>
          <a:ext cx="1720131" cy="503295"/>
        </a:xfrm>
        <a:custGeom>
          <a:avLst/>
          <a:gdLst/>
          <a:ahLst/>
          <a:cxnLst/>
          <a:rect l="0" t="0" r="0" b="0"/>
          <a:pathLst>
            <a:path>
              <a:moveTo>
                <a:pt x="1720131" y="0"/>
              </a:moveTo>
              <a:lnTo>
                <a:pt x="1720131"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C6FEB6-D342-A148-B4E4-3574392637D2}">
      <dsp:nvSpPr>
        <dsp:cNvPr id="0" name=""/>
        <dsp:cNvSpPr/>
      </dsp:nvSpPr>
      <dsp:spPr>
        <a:xfrm>
          <a:off x="3740558"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D5F04D-881E-FF45-840F-9065F725359E}">
      <dsp:nvSpPr>
        <dsp:cNvPr id="0" name=""/>
        <dsp:cNvSpPr/>
      </dsp:nvSpPr>
      <dsp:spPr>
        <a:xfrm>
          <a:off x="3740558"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B70BC6-8BC2-7740-8498-E09039141FAE}">
      <dsp:nvSpPr>
        <dsp:cNvPr id="0" name=""/>
        <dsp:cNvSpPr/>
      </dsp:nvSpPr>
      <dsp:spPr>
        <a:xfrm>
          <a:off x="3740558"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B3DB73-5383-E944-8E93-5490DBAC07ED}">
      <dsp:nvSpPr>
        <dsp:cNvPr id="0" name=""/>
        <dsp:cNvSpPr/>
      </dsp:nvSpPr>
      <dsp:spPr>
        <a:xfrm>
          <a:off x="4915345" y="2916317"/>
          <a:ext cx="5160394" cy="503295"/>
        </a:xfrm>
        <a:custGeom>
          <a:avLst/>
          <a:gdLst/>
          <a:ahLst/>
          <a:cxnLst/>
          <a:rect l="0" t="0" r="0" b="0"/>
          <a:pathLst>
            <a:path>
              <a:moveTo>
                <a:pt x="5160394" y="0"/>
              </a:moveTo>
              <a:lnTo>
                <a:pt x="5160394"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A8158C-1C6B-024B-9E64-1510DD2C7A55}">
      <dsp:nvSpPr>
        <dsp:cNvPr id="0" name=""/>
        <dsp:cNvSpPr/>
      </dsp:nvSpPr>
      <dsp:spPr>
        <a:xfrm>
          <a:off x="300295"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E2A4D5-E62D-B048-BDF2-2627D68216CE}">
      <dsp:nvSpPr>
        <dsp:cNvPr id="0" name=""/>
        <dsp:cNvSpPr/>
      </dsp:nvSpPr>
      <dsp:spPr>
        <a:xfrm>
          <a:off x="300295"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E963F3-2784-9E43-9E90-000EB562AE2A}">
      <dsp:nvSpPr>
        <dsp:cNvPr id="0" name=""/>
        <dsp:cNvSpPr/>
      </dsp:nvSpPr>
      <dsp:spPr>
        <a:xfrm>
          <a:off x="300295"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5D9B2B-0CE6-4D47-A7B6-80BAEBDC59FC}">
      <dsp:nvSpPr>
        <dsp:cNvPr id="0" name=""/>
        <dsp:cNvSpPr/>
      </dsp:nvSpPr>
      <dsp:spPr>
        <a:xfrm>
          <a:off x="1475082" y="2916317"/>
          <a:ext cx="8600657" cy="503295"/>
        </a:xfrm>
        <a:custGeom>
          <a:avLst/>
          <a:gdLst/>
          <a:ahLst/>
          <a:cxnLst/>
          <a:rect l="0" t="0" r="0" b="0"/>
          <a:pathLst>
            <a:path>
              <a:moveTo>
                <a:pt x="8600657" y="0"/>
              </a:moveTo>
              <a:lnTo>
                <a:pt x="8600657"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637420-A86F-4644-990A-75D86B7E454C}">
      <dsp:nvSpPr>
        <dsp:cNvPr id="0" name=""/>
        <dsp:cNvSpPr/>
      </dsp:nvSpPr>
      <dsp:spPr>
        <a:xfrm>
          <a:off x="8569077" y="959588"/>
          <a:ext cx="3013324" cy="1956728"/>
        </a:xfrm>
        <a:prstGeom prst="roundRect">
          <a:avLst/>
        </a:prstGeom>
        <a:solidFill>
          <a:schemeClr val="accent1">
            <a:lumMod val="5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Add to Cart</a:t>
          </a:r>
          <a:endParaRPr lang="en-US" sz="2000" b="1" kern="1200" dirty="0"/>
        </a:p>
      </dsp:txBody>
      <dsp:txXfrm>
        <a:off x="8664597" y="1055108"/>
        <a:ext cx="2822284" cy="1765688"/>
      </dsp:txXfrm>
    </dsp:sp>
    <dsp:sp modelId="{91D7ADA8-1475-9349-913E-9C2D53C1D7C9}">
      <dsp:nvSpPr>
        <dsp:cNvPr id="0" name=""/>
        <dsp:cNvSpPr/>
      </dsp:nvSpPr>
      <dsp:spPr>
        <a:xfrm>
          <a:off x="6598"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Emphasize the Primary Call to Action</a:t>
          </a:r>
          <a:endParaRPr lang="en-US" sz="2000" b="1" kern="1200" dirty="0">
            <a:effectLst>
              <a:outerShdw blurRad="50800" dist="38100" dir="2700000" algn="tl" rotWithShape="0">
                <a:prstClr val="black">
                  <a:alpha val="40000"/>
                </a:prstClr>
              </a:outerShdw>
            </a:effectLst>
          </a:endParaRPr>
        </a:p>
      </dsp:txBody>
      <dsp:txXfrm>
        <a:off x="102118" y="3515132"/>
        <a:ext cx="2745927" cy="1765688"/>
      </dsp:txXfrm>
    </dsp:sp>
    <dsp:sp modelId="{2ED78204-93EC-064C-823A-1586CD82394C}">
      <dsp:nvSpPr>
        <dsp:cNvPr id="0" name=""/>
        <dsp:cNvSpPr/>
      </dsp:nvSpPr>
      <dsp:spPr>
        <a:xfrm>
          <a:off x="740840"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Wording / messaging</a:t>
          </a:r>
          <a:endParaRPr lang="en-US" sz="2000" b="1" kern="1200" dirty="0">
            <a:effectLst>
              <a:outerShdw blurRad="50800" dist="38100" dir="2700000" algn="tl" rotWithShape="0">
                <a:prstClr val="black">
                  <a:alpha val="40000"/>
                </a:prstClr>
              </a:outerShdw>
            </a:effectLst>
          </a:endParaRPr>
        </a:p>
      </dsp:txBody>
      <dsp:txXfrm>
        <a:off x="836360" y="5975155"/>
        <a:ext cx="2205604" cy="1765688"/>
      </dsp:txXfrm>
    </dsp:sp>
    <dsp:sp modelId="{3B98D480-5A9A-0A4D-8BDC-FE216FA48EE4}">
      <dsp:nvSpPr>
        <dsp:cNvPr id="0" name=""/>
        <dsp:cNvSpPr/>
      </dsp:nvSpPr>
      <dsp:spPr>
        <a:xfrm>
          <a:off x="740840"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Location / size</a:t>
          </a:r>
          <a:endParaRPr lang="en-US" sz="2000" b="1" kern="1200" dirty="0">
            <a:effectLst>
              <a:outerShdw blurRad="50800" dist="38100" dir="2700000" algn="tl" rotWithShape="0">
                <a:prstClr val="black">
                  <a:alpha val="40000"/>
                </a:prstClr>
              </a:outerShdw>
            </a:effectLst>
          </a:endParaRPr>
        </a:p>
      </dsp:txBody>
      <dsp:txXfrm>
        <a:off x="836360" y="8435179"/>
        <a:ext cx="2205604" cy="1765688"/>
      </dsp:txXfrm>
    </dsp:sp>
    <dsp:sp modelId="{2C0E0A56-4821-5340-9545-5653DBEF3E82}">
      <dsp:nvSpPr>
        <dsp:cNvPr id="0" name=""/>
        <dsp:cNvSpPr/>
      </dsp:nvSpPr>
      <dsp:spPr>
        <a:xfrm>
          <a:off x="740840"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Design / color / iconography</a:t>
          </a:r>
          <a:endParaRPr lang="en-US" sz="2000" b="1" kern="1200" dirty="0">
            <a:effectLst>
              <a:outerShdw blurRad="50800" dist="38100" dir="2700000" algn="tl" rotWithShape="0">
                <a:prstClr val="black">
                  <a:alpha val="40000"/>
                </a:prstClr>
              </a:outerShdw>
            </a:effectLst>
          </a:endParaRPr>
        </a:p>
      </dsp:txBody>
      <dsp:txXfrm>
        <a:off x="836360" y="10895202"/>
        <a:ext cx="2205604" cy="1765688"/>
      </dsp:txXfrm>
    </dsp:sp>
    <dsp:sp modelId="{6A1B3FF2-4302-AB42-9144-D0C7AF33189D}">
      <dsp:nvSpPr>
        <dsp:cNvPr id="0" name=""/>
        <dsp:cNvSpPr/>
      </dsp:nvSpPr>
      <dsp:spPr>
        <a:xfrm>
          <a:off x="3446861"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Minimize Distractions</a:t>
          </a:r>
          <a:endParaRPr lang="en-US" sz="2000" b="1" kern="1200" dirty="0">
            <a:effectLst>
              <a:outerShdw blurRad="50800" dist="38100" dir="2700000" algn="tl" rotWithShape="0">
                <a:prstClr val="black">
                  <a:alpha val="40000"/>
                </a:prstClr>
              </a:outerShdw>
            </a:effectLst>
          </a:endParaRPr>
        </a:p>
      </dsp:txBody>
      <dsp:txXfrm>
        <a:off x="3542381" y="3515132"/>
        <a:ext cx="2745927" cy="1765688"/>
      </dsp:txXfrm>
    </dsp:sp>
    <dsp:sp modelId="{22959F47-69F7-D445-9334-5C7C176A2653}">
      <dsp:nvSpPr>
        <dsp:cNvPr id="0" name=""/>
        <dsp:cNvSpPr/>
      </dsp:nvSpPr>
      <dsp:spPr>
        <a:xfrm>
          <a:off x="4181103"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Establish a visual hierarchy</a:t>
          </a:r>
          <a:endParaRPr lang="en-US" sz="2000" b="1" kern="1200" dirty="0">
            <a:effectLst>
              <a:outerShdw blurRad="50800" dist="38100" dir="2700000" algn="tl" rotWithShape="0">
                <a:prstClr val="black">
                  <a:alpha val="40000"/>
                </a:prstClr>
              </a:outerShdw>
            </a:effectLst>
          </a:endParaRPr>
        </a:p>
      </dsp:txBody>
      <dsp:txXfrm>
        <a:off x="4276623" y="5975155"/>
        <a:ext cx="2205604" cy="1765688"/>
      </dsp:txXfrm>
    </dsp:sp>
    <dsp:sp modelId="{35471471-CB84-0746-BDD4-1655B6C5471A}">
      <dsp:nvSpPr>
        <dsp:cNvPr id="0" name=""/>
        <dsp:cNvSpPr/>
      </dsp:nvSpPr>
      <dsp:spPr>
        <a:xfrm>
          <a:off x="4181103"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Remove non-critical content</a:t>
          </a:r>
          <a:endParaRPr lang="en-US" sz="2000" b="1" kern="1200" dirty="0">
            <a:effectLst>
              <a:outerShdw blurRad="50800" dist="38100" dir="2700000" algn="tl" rotWithShape="0">
                <a:prstClr val="black">
                  <a:alpha val="40000"/>
                </a:prstClr>
              </a:outerShdw>
            </a:effectLst>
          </a:endParaRPr>
        </a:p>
      </dsp:txBody>
      <dsp:txXfrm>
        <a:off x="4276623" y="8435179"/>
        <a:ext cx="2205604" cy="1765688"/>
      </dsp:txXfrm>
    </dsp:sp>
    <dsp:sp modelId="{9276651D-6194-EA49-8E09-02C1BFFFA9D5}">
      <dsp:nvSpPr>
        <dsp:cNvPr id="0" name=""/>
        <dsp:cNvSpPr/>
      </dsp:nvSpPr>
      <dsp:spPr>
        <a:xfrm>
          <a:off x="4181103"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Limit number of choices</a:t>
          </a:r>
          <a:endParaRPr lang="en-US" sz="2000" b="1" kern="1200" dirty="0">
            <a:effectLst>
              <a:outerShdw blurRad="50800" dist="38100" dir="2700000" algn="tl" rotWithShape="0">
                <a:prstClr val="black">
                  <a:alpha val="40000"/>
                </a:prstClr>
              </a:outerShdw>
            </a:effectLst>
          </a:endParaRPr>
        </a:p>
      </dsp:txBody>
      <dsp:txXfrm>
        <a:off x="4276623" y="10895202"/>
        <a:ext cx="2205604" cy="1765688"/>
      </dsp:txXfrm>
    </dsp:sp>
    <dsp:sp modelId="{C98D4C05-6DFD-F848-8831-CA53C562EFA9}">
      <dsp:nvSpPr>
        <dsp:cNvPr id="0" name=""/>
        <dsp:cNvSpPr/>
      </dsp:nvSpPr>
      <dsp:spPr>
        <a:xfrm>
          <a:off x="688712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Communicate Unique Selling Points</a:t>
          </a:r>
          <a:endParaRPr lang="en-US" sz="2000" b="1" kern="1200" dirty="0">
            <a:effectLst>
              <a:outerShdw blurRad="50800" dist="38100" dir="2700000" algn="tl" rotWithShape="0">
                <a:prstClr val="black">
                  <a:alpha val="40000"/>
                </a:prstClr>
              </a:outerShdw>
            </a:effectLst>
          </a:endParaRPr>
        </a:p>
      </dsp:txBody>
      <dsp:txXfrm>
        <a:off x="6982644" y="3515132"/>
        <a:ext cx="2745927" cy="1765688"/>
      </dsp:txXfrm>
    </dsp:sp>
    <dsp:sp modelId="{7AAAE15D-9C55-1D43-B8B7-B04F0D48EABD}">
      <dsp:nvSpPr>
        <dsp:cNvPr id="0" name=""/>
        <dsp:cNvSpPr/>
      </dsp:nvSpPr>
      <dsp:spPr>
        <a:xfrm>
          <a:off x="7621366"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Select/target the right USP’s</a:t>
          </a:r>
          <a:endParaRPr lang="en-US" sz="2000" b="1" kern="1200" dirty="0">
            <a:effectLst>
              <a:outerShdw blurRad="50800" dist="38100" dir="2700000" algn="tl" rotWithShape="0">
                <a:prstClr val="black">
                  <a:alpha val="40000"/>
                </a:prstClr>
              </a:outerShdw>
            </a:effectLst>
          </a:endParaRPr>
        </a:p>
      </dsp:txBody>
      <dsp:txXfrm>
        <a:off x="7716886" y="5975155"/>
        <a:ext cx="2205604" cy="1765688"/>
      </dsp:txXfrm>
    </dsp:sp>
    <dsp:sp modelId="{7C50BECD-9391-C544-9079-7DCA06B1B106}">
      <dsp:nvSpPr>
        <dsp:cNvPr id="0" name=""/>
        <dsp:cNvSpPr/>
      </dsp:nvSpPr>
      <dsp:spPr>
        <a:xfrm>
          <a:off x="7621366"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Refine the messaging</a:t>
          </a:r>
          <a:endParaRPr lang="en-US" sz="2000" b="1" kern="1200" dirty="0">
            <a:effectLst>
              <a:outerShdw blurRad="50800" dist="38100" dir="2700000" algn="tl" rotWithShape="0">
                <a:prstClr val="black">
                  <a:alpha val="40000"/>
                </a:prstClr>
              </a:outerShdw>
            </a:effectLst>
          </a:endParaRPr>
        </a:p>
      </dsp:txBody>
      <dsp:txXfrm>
        <a:off x="7716886" y="8435179"/>
        <a:ext cx="2205604" cy="1765688"/>
      </dsp:txXfrm>
    </dsp:sp>
    <dsp:sp modelId="{C8DB6E88-65AB-3947-BF5E-D30F973C203C}">
      <dsp:nvSpPr>
        <dsp:cNvPr id="0" name=""/>
        <dsp:cNvSpPr/>
      </dsp:nvSpPr>
      <dsp:spPr>
        <a:xfrm>
          <a:off x="7621366"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Communicate visually</a:t>
          </a:r>
          <a:endParaRPr lang="en-US" sz="2000" b="1" kern="1200" dirty="0">
            <a:effectLst>
              <a:outerShdw blurRad="50800" dist="38100" dir="2700000" algn="tl" rotWithShape="0">
                <a:prstClr val="black">
                  <a:alpha val="40000"/>
                </a:prstClr>
              </a:outerShdw>
            </a:effectLst>
          </a:endParaRPr>
        </a:p>
      </dsp:txBody>
      <dsp:txXfrm>
        <a:off x="7716886" y="10895202"/>
        <a:ext cx="2205604" cy="1765688"/>
      </dsp:txXfrm>
    </dsp:sp>
    <dsp:sp modelId="{F63DB975-E825-ED40-9ED5-8EF8047133DC}">
      <dsp:nvSpPr>
        <dsp:cNvPr id="0" name=""/>
        <dsp:cNvSpPr/>
      </dsp:nvSpPr>
      <dsp:spPr>
        <a:xfrm>
          <a:off x="10327387"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Design Intuitive Navigation</a:t>
          </a:r>
          <a:endParaRPr lang="en-US" sz="2000" b="1" kern="1200" dirty="0">
            <a:effectLst>
              <a:outerShdw blurRad="50800" dist="38100" dir="2700000" algn="tl" rotWithShape="0">
                <a:prstClr val="black">
                  <a:alpha val="40000"/>
                </a:prstClr>
              </a:outerShdw>
            </a:effectLst>
          </a:endParaRPr>
        </a:p>
      </dsp:txBody>
      <dsp:txXfrm>
        <a:off x="10422907" y="3515132"/>
        <a:ext cx="2745927" cy="1765688"/>
      </dsp:txXfrm>
    </dsp:sp>
    <dsp:sp modelId="{BD45870A-B3FE-4649-A1E8-44ABA898ACEB}">
      <dsp:nvSpPr>
        <dsp:cNvPr id="0" name=""/>
        <dsp:cNvSpPr/>
      </dsp:nvSpPr>
      <dsp:spPr>
        <a:xfrm>
          <a:off x="11061629"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smtClean="0">
              <a:effectLst>
                <a:outerShdw blurRad="50800" dist="38100" dir="2700000" algn="tl" rotWithShape="0">
                  <a:prstClr val="black">
                    <a:alpha val="40000"/>
                  </a:prstClr>
                </a:outerShdw>
              </a:effectLst>
            </a:rPr>
            <a:t>Use a clear, consistent layout</a:t>
          </a:r>
          <a:endParaRPr lang="en-US" sz="2000" b="1" kern="1200" dirty="0">
            <a:effectLst>
              <a:outerShdw blurRad="50800" dist="38100" dir="2700000" algn="tl" rotWithShape="0">
                <a:prstClr val="black">
                  <a:alpha val="40000"/>
                </a:prstClr>
              </a:outerShdw>
            </a:effectLst>
          </a:endParaRPr>
        </a:p>
      </dsp:txBody>
      <dsp:txXfrm>
        <a:off x="11157149" y="5975155"/>
        <a:ext cx="2205604" cy="1765688"/>
      </dsp:txXfrm>
    </dsp:sp>
    <dsp:sp modelId="{667C8B84-66F0-D04D-AF88-0F329C747158}">
      <dsp:nvSpPr>
        <dsp:cNvPr id="0" name=""/>
        <dsp:cNvSpPr/>
      </dsp:nvSpPr>
      <dsp:spPr>
        <a:xfrm>
          <a:off x="11061629"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Structure, naming, and order of sections</a:t>
          </a:r>
          <a:endParaRPr lang="en-US" sz="2000" b="1" kern="1200" dirty="0">
            <a:effectLst>
              <a:outerShdw blurRad="50800" dist="38100" dir="2700000" algn="tl" rotWithShape="0">
                <a:prstClr val="black">
                  <a:alpha val="40000"/>
                </a:prstClr>
              </a:outerShdw>
            </a:effectLst>
          </a:endParaRPr>
        </a:p>
      </dsp:txBody>
      <dsp:txXfrm>
        <a:off x="11157149" y="8435179"/>
        <a:ext cx="2205604" cy="1765688"/>
      </dsp:txXfrm>
    </dsp:sp>
    <dsp:sp modelId="{0B86221D-B7E4-B74C-ACB9-8C43A9AE47F7}">
      <dsp:nvSpPr>
        <dsp:cNvPr id="0" name=""/>
        <dsp:cNvSpPr/>
      </dsp:nvSpPr>
      <dsp:spPr>
        <a:xfrm>
          <a:off x="11061629"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Use iconography</a:t>
          </a:r>
          <a:endParaRPr lang="en-US" sz="2000" b="1" kern="1200" dirty="0">
            <a:effectLst>
              <a:outerShdw blurRad="50800" dist="38100" dir="2700000" algn="tl" rotWithShape="0">
                <a:prstClr val="black">
                  <a:alpha val="40000"/>
                </a:prstClr>
              </a:outerShdw>
            </a:effectLst>
          </a:endParaRPr>
        </a:p>
      </dsp:txBody>
      <dsp:txXfrm>
        <a:off x="11157149" y="10895202"/>
        <a:ext cx="2205604" cy="1765688"/>
      </dsp:txXfrm>
    </dsp:sp>
    <dsp:sp modelId="{572E3CDC-5D66-514E-8912-D04551846EC7}">
      <dsp:nvSpPr>
        <dsp:cNvPr id="0" name=""/>
        <dsp:cNvSpPr/>
      </dsp:nvSpPr>
      <dsp:spPr>
        <a:xfrm>
          <a:off x="13767650"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Market Products Effectively</a:t>
          </a:r>
          <a:endParaRPr lang="en-US" sz="2000" b="1" kern="1200" dirty="0">
            <a:effectLst>
              <a:outerShdw blurRad="50800" dist="38100" dir="2700000" algn="tl" rotWithShape="0">
                <a:prstClr val="black">
                  <a:alpha val="40000"/>
                </a:prstClr>
              </a:outerShdw>
            </a:effectLst>
          </a:endParaRPr>
        </a:p>
      </dsp:txBody>
      <dsp:txXfrm>
        <a:off x="13863170" y="3515132"/>
        <a:ext cx="2745927" cy="1765688"/>
      </dsp:txXfrm>
    </dsp:sp>
    <dsp:sp modelId="{312925C6-1321-8C4D-8ECE-565EBD85AA53}">
      <dsp:nvSpPr>
        <dsp:cNvPr id="0" name=""/>
        <dsp:cNvSpPr/>
      </dsp:nvSpPr>
      <dsp:spPr>
        <a:xfrm>
          <a:off x="14501892"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Test ideal product visuals</a:t>
          </a:r>
          <a:endParaRPr lang="en-US" sz="2000" b="1" kern="1200" dirty="0">
            <a:effectLst>
              <a:outerShdw blurRad="50800" dist="38100" dir="2700000" algn="tl" rotWithShape="0">
                <a:prstClr val="black">
                  <a:alpha val="40000"/>
                </a:prstClr>
              </a:outerShdw>
            </a:effectLst>
          </a:endParaRPr>
        </a:p>
      </dsp:txBody>
      <dsp:txXfrm>
        <a:off x="14597412" y="5975155"/>
        <a:ext cx="2205604" cy="1765688"/>
      </dsp:txXfrm>
    </dsp:sp>
    <dsp:sp modelId="{96DE10DD-2A27-1E4E-A6B9-8640BCC5A191}">
      <dsp:nvSpPr>
        <dsp:cNvPr id="0" name=""/>
        <dsp:cNvSpPr/>
      </dsp:nvSpPr>
      <dsp:spPr>
        <a:xfrm>
          <a:off x="14501892"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Use the right review systems</a:t>
          </a:r>
          <a:endParaRPr lang="en-US" sz="2000" b="1" kern="1200" dirty="0">
            <a:effectLst>
              <a:outerShdw blurRad="50800" dist="38100" dir="2700000" algn="tl" rotWithShape="0">
                <a:prstClr val="black">
                  <a:alpha val="40000"/>
                </a:prstClr>
              </a:outerShdw>
            </a:effectLst>
          </a:endParaRPr>
        </a:p>
      </dsp:txBody>
      <dsp:txXfrm>
        <a:off x="14597412" y="8435179"/>
        <a:ext cx="2205604" cy="1765688"/>
      </dsp:txXfrm>
    </dsp:sp>
    <dsp:sp modelId="{210923D2-AC03-0946-B698-462DDD0B6542}">
      <dsp:nvSpPr>
        <dsp:cNvPr id="0" name=""/>
        <dsp:cNvSpPr/>
      </dsp:nvSpPr>
      <dsp:spPr>
        <a:xfrm>
          <a:off x="14501892"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Find ideal description text / length</a:t>
          </a:r>
          <a:endParaRPr lang="en-US" sz="2000" b="1" kern="1200" dirty="0">
            <a:effectLst>
              <a:outerShdw blurRad="50800" dist="38100" dir="2700000" algn="tl" rotWithShape="0">
                <a:prstClr val="black">
                  <a:alpha val="40000"/>
                </a:prstClr>
              </a:outerShdw>
            </a:effectLst>
          </a:endParaRPr>
        </a:p>
      </dsp:txBody>
      <dsp:txXfrm>
        <a:off x="14597412" y="10895202"/>
        <a:ext cx="2205604" cy="1765688"/>
      </dsp:txXfrm>
    </dsp:sp>
    <dsp:sp modelId="{0FE69002-AB56-3740-A6BE-C29542137A47}">
      <dsp:nvSpPr>
        <dsp:cNvPr id="0" name=""/>
        <dsp:cNvSpPr/>
      </dsp:nvSpPr>
      <dsp:spPr>
        <a:xfrm>
          <a:off x="1720791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Build a Sense of Urgency</a:t>
          </a:r>
          <a:endParaRPr lang="en-US" sz="2000" b="1" kern="1200" dirty="0">
            <a:effectLst>
              <a:outerShdw blurRad="50800" dist="38100" dir="2700000" algn="tl" rotWithShape="0">
                <a:prstClr val="black">
                  <a:alpha val="40000"/>
                </a:prstClr>
              </a:outerShdw>
            </a:effectLst>
          </a:endParaRPr>
        </a:p>
      </dsp:txBody>
      <dsp:txXfrm>
        <a:off x="17303434" y="3515132"/>
        <a:ext cx="2745927" cy="1765688"/>
      </dsp:txXfrm>
    </dsp:sp>
    <dsp:sp modelId="{3F382FC2-12CB-D943-89ED-75CADBE6B2B9}">
      <dsp:nvSpPr>
        <dsp:cNvPr id="0" name=""/>
        <dsp:cNvSpPr/>
      </dsp:nvSpPr>
      <dsp:spPr>
        <a:xfrm>
          <a:off x="17942155"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Show quantity left</a:t>
          </a:r>
          <a:endParaRPr lang="en-US" sz="2000" b="1" kern="1200" dirty="0">
            <a:effectLst>
              <a:outerShdw blurRad="50800" dist="38100" dir="2700000" algn="tl" rotWithShape="0">
                <a:prstClr val="black">
                  <a:alpha val="40000"/>
                </a:prstClr>
              </a:outerShdw>
            </a:effectLst>
          </a:endParaRPr>
        </a:p>
      </dsp:txBody>
      <dsp:txXfrm>
        <a:off x="18037675" y="5975155"/>
        <a:ext cx="2205604" cy="1765688"/>
      </dsp:txXfrm>
    </dsp:sp>
    <dsp:sp modelId="{EA99EEAC-15F9-BB4A-A17F-8DF66EAF1CDC}">
      <dsp:nvSpPr>
        <dsp:cNvPr id="0" name=""/>
        <dsp:cNvSpPr/>
      </dsp:nvSpPr>
      <dsp:spPr>
        <a:xfrm>
          <a:off x="17942155"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Push temporary offers</a:t>
          </a:r>
          <a:endParaRPr lang="en-US" sz="2000" b="1" kern="1200" dirty="0">
            <a:effectLst>
              <a:outerShdw blurRad="50800" dist="38100" dir="2700000" algn="tl" rotWithShape="0">
                <a:prstClr val="black">
                  <a:alpha val="40000"/>
                </a:prstClr>
              </a:outerShdw>
            </a:effectLst>
          </a:endParaRPr>
        </a:p>
      </dsp:txBody>
      <dsp:txXfrm>
        <a:off x="18037675" y="8435179"/>
        <a:ext cx="2205604" cy="1765688"/>
      </dsp:txXfrm>
    </dsp:sp>
    <dsp:sp modelId="{72D53164-9DF1-584A-A8A9-A81741EC7864}">
      <dsp:nvSpPr>
        <dsp:cNvPr id="0" name=""/>
        <dsp:cNvSpPr/>
      </dsp:nvSpPr>
      <dsp:spPr>
        <a:xfrm>
          <a:off x="17942155"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2700" numCol="1" spcCol="1270" anchor="ctr" anchorCtr="0">
          <a:noAutofit/>
        </a:bodyPr>
        <a:lstStyle/>
        <a:p>
          <a:pPr lvl="0" algn="ctr" defTabSz="889000">
            <a:lnSpc>
              <a:spcPct val="90000"/>
            </a:lnSpc>
            <a:spcBef>
              <a:spcPct val="0"/>
            </a:spcBef>
            <a:spcAft>
              <a:spcPct val="35000"/>
            </a:spcAft>
          </a:pPr>
          <a:r>
            <a:rPr lang="en-US" sz="2000" b="1" kern="1200" dirty="0" smtClean="0">
              <a:effectLst>
                <a:outerShdw blurRad="50800" dist="38100" dir="2700000" algn="tl" rotWithShape="0">
                  <a:prstClr val="black">
                    <a:alpha val="40000"/>
                  </a:prstClr>
                </a:outerShdw>
              </a:effectLst>
            </a:rPr>
            <a:t>Promote buying before set times</a:t>
          </a:r>
          <a:endParaRPr lang="en-US" sz="2000" b="1" kern="1200" dirty="0">
            <a:effectLst>
              <a:outerShdw blurRad="50800" dist="38100" dir="2700000" algn="tl" rotWithShape="0">
                <a:prstClr val="black">
                  <a:alpha val="40000"/>
                </a:prstClr>
              </a:outerShdw>
            </a:effectLst>
          </a:endParaRPr>
        </a:p>
      </dsp:txBody>
      <dsp:txXfrm>
        <a:off x="18037675" y="10895202"/>
        <a:ext cx="2205604" cy="17656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101F31-B493-FC4F-BA98-4DA93A046699}">
      <dsp:nvSpPr>
        <dsp:cNvPr id="0" name=""/>
        <dsp:cNvSpPr/>
      </dsp:nvSpPr>
      <dsp:spPr>
        <a:xfrm>
          <a:off x="17438698" y="5385723"/>
          <a:ext cx="503457" cy="6392323"/>
        </a:xfrm>
        <a:custGeom>
          <a:avLst/>
          <a:gdLst/>
          <a:ahLst/>
          <a:cxnLst/>
          <a:rect l="0" t="0" r="0" b="0"/>
          <a:pathLst>
            <a:path>
              <a:moveTo>
                <a:pt x="0" y="0"/>
              </a:moveTo>
              <a:lnTo>
                <a:pt x="0" y="6392323"/>
              </a:lnTo>
              <a:lnTo>
                <a:pt x="503457" y="6392323"/>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E80B93D-D000-8B4B-8100-E0B67DB0E877}">
      <dsp:nvSpPr>
        <dsp:cNvPr id="0" name=""/>
        <dsp:cNvSpPr/>
      </dsp:nvSpPr>
      <dsp:spPr>
        <a:xfrm>
          <a:off x="17438698" y="5385723"/>
          <a:ext cx="503457" cy="3932300"/>
        </a:xfrm>
        <a:custGeom>
          <a:avLst/>
          <a:gdLst/>
          <a:ahLst/>
          <a:cxnLst/>
          <a:rect l="0" t="0" r="0" b="0"/>
          <a:pathLst>
            <a:path>
              <a:moveTo>
                <a:pt x="0" y="0"/>
              </a:moveTo>
              <a:lnTo>
                <a:pt x="0" y="3932300"/>
              </a:lnTo>
              <a:lnTo>
                <a:pt x="503457" y="3932300"/>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8EACF5C-66CA-3E4D-8C5C-FF5941FDB285}">
      <dsp:nvSpPr>
        <dsp:cNvPr id="0" name=""/>
        <dsp:cNvSpPr/>
      </dsp:nvSpPr>
      <dsp:spPr>
        <a:xfrm>
          <a:off x="17438698" y="5385723"/>
          <a:ext cx="503457" cy="1472276"/>
        </a:xfrm>
        <a:custGeom>
          <a:avLst/>
          <a:gdLst/>
          <a:ahLst/>
          <a:cxnLst/>
          <a:rect l="0" t="0" r="0" b="0"/>
          <a:pathLst>
            <a:path>
              <a:moveTo>
                <a:pt x="0" y="0"/>
              </a:moveTo>
              <a:lnTo>
                <a:pt x="0" y="1472276"/>
              </a:lnTo>
              <a:lnTo>
                <a:pt x="503457" y="147227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D0BC2B8-08A5-504D-8B97-A8DFE6F2353D}">
      <dsp:nvSpPr>
        <dsp:cNvPr id="0" name=""/>
        <dsp:cNvSpPr/>
      </dsp:nvSpPr>
      <dsp:spPr>
        <a:xfrm>
          <a:off x="10075740" y="2916317"/>
          <a:ext cx="8537745" cy="512678"/>
        </a:xfrm>
        <a:custGeom>
          <a:avLst/>
          <a:gdLst/>
          <a:ahLst/>
          <a:cxnLst/>
          <a:rect l="0" t="0" r="0" b="0"/>
          <a:pathLst>
            <a:path>
              <a:moveTo>
                <a:pt x="0" y="0"/>
              </a:moveTo>
              <a:lnTo>
                <a:pt x="0" y="261030"/>
              </a:lnTo>
              <a:lnTo>
                <a:pt x="8537745" y="261030"/>
              </a:lnTo>
              <a:lnTo>
                <a:pt x="8537745" y="512678"/>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5969C0C-C4EF-8044-B112-A2052B5FA261}">
      <dsp:nvSpPr>
        <dsp:cNvPr id="0" name=""/>
        <dsp:cNvSpPr/>
      </dsp:nvSpPr>
      <dsp:spPr>
        <a:xfrm>
          <a:off x="14061347"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440B106-7C72-9547-AE5A-A590A6A7292B}">
      <dsp:nvSpPr>
        <dsp:cNvPr id="0" name=""/>
        <dsp:cNvSpPr/>
      </dsp:nvSpPr>
      <dsp:spPr>
        <a:xfrm>
          <a:off x="14061347"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F6E45F-C07E-304C-AB67-8E8552A42778}">
      <dsp:nvSpPr>
        <dsp:cNvPr id="0" name=""/>
        <dsp:cNvSpPr/>
      </dsp:nvSpPr>
      <dsp:spPr>
        <a:xfrm>
          <a:off x="14061347"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80E8B4-F1B6-8246-9806-7D2D0CB68815}">
      <dsp:nvSpPr>
        <dsp:cNvPr id="0" name=""/>
        <dsp:cNvSpPr/>
      </dsp:nvSpPr>
      <dsp:spPr>
        <a:xfrm>
          <a:off x="10075740" y="2916317"/>
          <a:ext cx="5160394" cy="503295"/>
        </a:xfrm>
        <a:custGeom>
          <a:avLst/>
          <a:gdLst/>
          <a:ahLst/>
          <a:cxnLst/>
          <a:rect l="0" t="0" r="0" b="0"/>
          <a:pathLst>
            <a:path>
              <a:moveTo>
                <a:pt x="0" y="0"/>
              </a:moveTo>
              <a:lnTo>
                <a:pt x="0" y="251647"/>
              </a:lnTo>
              <a:lnTo>
                <a:pt x="5160394" y="251647"/>
              </a:lnTo>
              <a:lnTo>
                <a:pt x="5160394"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BF62F60-4DCC-6C46-AE65-EDFFE870F1F4}">
      <dsp:nvSpPr>
        <dsp:cNvPr id="0" name=""/>
        <dsp:cNvSpPr/>
      </dsp:nvSpPr>
      <dsp:spPr>
        <a:xfrm>
          <a:off x="10621084"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C9BEE53-E580-D245-BCCD-590C85D76065}">
      <dsp:nvSpPr>
        <dsp:cNvPr id="0" name=""/>
        <dsp:cNvSpPr/>
      </dsp:nvSpPr>
      <dsp:spPr>
        <a:xfrm>
          <a:off x="10621084"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7B5B0F12-5DDA-9943-9092-2A10F2FE9601}">
      <dsp:nvSpPr>
        <dsp:cNvPr id="0" name=""/>
        <dsp:cNvSpPr/>
      </dsp:nvSpPr>
      <dsp:spPr>
        <a:xfrm>
          <a:off x="10621084"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23D0151-0AF0-7A44-BCE6-C10462839127}">
      <dsp:nvSpPr>
        <dsp:cNvPr id="0" name=""/>
        <dsp:cNvSpPr/>
      </dsp:nvSpPr>
      <dsp:spPr>
        <a:xfrm>
          <a:off x="10075740" y="2916317"/>
          <a:ext cx="1720131" cy="503295"/>
        </a:xfrm>
        <a:custGeom>
          <a:avLst/>
          <a:gdLst/>
          <a:ahLst/>
          <a:cxnLst/>
          <a:rect l="0" t="0" r="0" b="0"/>
          <a:pathLst>
            <a:path>
              <a:moveTo>
                <a:pt x="0" y="0"/>
              </a:moveTo>
              <a:lnTo>
                <a:pt x="0" y="251647"/>
              </a:lnTo>
              <a:lnTo>
                <a:pt x="1720131" y="251647"/>
              </a:lnTo>
              <a:lnTo>
                <a:pt x="1720131"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030E2EE-B0D1-364F-B6DF-876E246B6AE1}">
      <dsp:nvSpPr>
        <dsp:cNvPr id="0" name=""/>
        <dsp:cNvSpPr/>
      </dsp:nvSpPr>
      <dsp:spPr>
        <a:xfrm>
          <a:off x="7180821"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9F0079-A483-7E48-A321-97C36DBA0475}">
      <dsp:nvSpPr>
        <dsp:cNvPr id="0" name=""/>
        <dsp:cNvSpPr/>
      </dsp:nvSpPr>
      <dsp:spPr>
        <a:xfrm>
          <a:off x="7180821"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D62CB30F-6901-594F-8775-B46F34227BC9}">
      <dsp:nvSpPr>
        <dsp:cNvPr id="0" name=""/>
        <dsp:cNvSpPr/>
      </dsp:nvSpPr>
      <dsp:spPr>
        <a:xfrm>
          <a:off x="7180821"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10491EA-604E-6842-9866-DF2E9CD33930}">
      <dsp:nvSpPr>
        <dsp:cNvPr id="0" name=""/>
        <dsp:cNvSpPr/>
      </dsp:nvSpPr>
      <dsp:spPr>
        <a:xfrm>
          <a:off x="8355608" y="2916317"/>
          <a:ext cx="1720131" cy="503295"/>
        </a:xfrm>
        <a:custGeom>
          <a:avLst/>
          <a:gdLst/>
          <a:ahLst/>
          <a:cxnLst/>
          <a:rect l="0" t="0" r="0" b="0"/>
          <a:pathLst>
            <a:path>
              <a:moveTo>
                <a:pt x="1720131" y="0"/>
              </a:moveTo>
              <a:lnTo>
                <a:pt x="1720131"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DC6FEB6-D342-A148-B4E4-3574392637D2}">
      <dsp:nvSpPr>
        <dsp:cNvPr id="0" name=""/>
        <dsp:cNvSpPr/>
      </dsp:nvSpPr>
      <dsp:spPr>
        <a:xfrm>
          <a:off x="3740558"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CD5F04D-881E-FF45-840F-9065F725359E}">
      <dsp:nvSpPr>
        <dsp:cNvPr id="0" name=""/>
        <dsp:cNvSpPr/>
      </dsp:nvSpPr>
      <dsp:spPr>
        <a:xfrm>
          <a:off x="3740558"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CB70BC6-8BC2-7740-8498-E09039141FAE}">
      <dsp:nvSpPr>
        <dsp:cNvPr id="0" name=""/>
        <dsp:cNvSpPr/>
      </dsp:nvSpPr>
      <dsp:spPr>
        <a:xfrm>
          <a:off x="3740558"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AB3DB73-5383-E944-8E93-5490DBAC07ED}">
      <dsp:nvSpPr>
        <dsp:cNvPr id="0" name=""/>
        <dsp:cNvSpPr/>
      </dsp:nvSpPr>
      <dsp:spPr>
        <a:xfrm>
          <a:off x="4915345" y="2916317"/>
          <a:ext cx="5160394" cy="503295"/>
        </a:xfrm>
        <a:custGeom>
          <a:avLst/>
          <a:gdLst/>
          <a:ahLst/>
          <a:cxnLst/>
          <a:rect l="0" t="0" r="0" b="0"/>
          <a:pathLst>
            <a:path>
              <a:moveTo>
                <a:pt x="5160394" y="0"/>
              </a:moveTo>
              <a:lnTo>
                <a:pt x="5160394"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DA8158C-1C6B-024B-9E64-1510DD2C7A55}">
      <dsp:nvSpPr>
        <dsp:cNvPr id="0" name=""/>
        <dsp:cNvSpPr/>
      </dsp:nvSpPr>
      <dsp:spPr>
        <a:xfrm>
          <a:off x="300295" y="5376340"/>
          <a:ext cx="440545" cy="6401706"/>
        </a:xfrm>
        <a:custGeom>
          <a:avLst/>
          <a:gdLst/>
          <a:ahLst/>
          <a:cxnLst/>
          <a:rect l="0" t="0" r="0" b="0"/>
          <a:pathLst>
            <a:path>
              <a:moveTo>
                <a:pt x="0" y="0"/>
              </a:moveTo>
              <a:lnTo>
                <a:pt x="0" y="6401706"/>
              </a:lnTo>
              <a:lnTo>
                <a:pt x="440545" y="6401706"/>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8E2A4D5-E62D-B048-BDF2-2627D68216CE}">
      <dsp:nvSpPr>
        <dsp:cNvPr id="0" name=""/>
        <dsp:cNvSpPr/>
      </dsp:nvSpPr>
      <dsp:spPr>
        <a:xfrm>
          <a:off x="300295" y="5376340"/>
          <a:ext cx="440545" cy="3941682"/>
        </a:xfrm>
        <a:custGeom>
          <a:avLst/>
          <a:gdLst/>
          <a:ahLst/>
          <a:cxnLst/>
          <a:rect l="0" t="0" r="0" b="0"/>
          <a:pathLst>
            <a:path>
              <a:moveTo>
                <a:pt x="0" y="0"/>
              </a:moveTo>
              <a:lnTo>
                <a:pt x="0" y="3941682"/>
              </a:lnTo>
              <a:lnTo>
                <a:pt x="440545" y="3941682"/>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4E963F3-2784-9E43-9E90-000EB562AE2A}">
      <dsp:nvSpPr>
        <dsp:cNvPr id="0" name=""/>
        <dsp:cNvSpPr/>
      </dsp:nvSpPr>
      <dsp:spPr>
        <a:xfrm>
          <a:off x="300295" y="5376340"/>
          <a:ext cx="440545" cy="1481659"/>
        </a:xfrm>
        <a:custGeom>
          <a:avLst/>
          <a:gdLst/>
          <a:ahLst/>
          <a:cxnLst/>
          <a:rect l="0" t="0" r="0" b="0"/>
          <a:pathLst>
            <a:path>
              <a:moveTo>
                <a:pt x="0" y="0"/>
              </a:moveTo>
              <a:lnTo>
                <a:pt x="0" y="1481659"/>
              </a:lnTo>
              <a:lnTo>
                <a:pt x="440545" y="1481659"/>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F5D9B2B-0CE6-4D47-A7B6-80BAEBDC59FC}">
      <dsp:nvSpPr>
        <dsp:cNvPr id="0" name=""/>
        <dsp:cNvSpPr/>
      </dsp:nvSpPr>
      <dsp:spPr>
        <a:xfrm>
          <a:off x="1475082" y="2916317"/>
          <a:ext cx="8600657" cy="503295"/>
        </a:xfrm>
        <a:custGeom>
          <a:avLst/>
          <a:gdLst/>
          <a:ahLst/>
          <a:cxnLst/>
          <a:rect l="0" t="0" r="0" b="0"/>
          <a:pathLst>
            <a:path>
              <a:moveTo>
                <a:pt x="8600657" y="0"/>
              </a:moveTo>
              <a:lnTo>
                <a:pt x="8600657" y="251647"/>
              </a:lnTo>
              <a:lnTo>
                <a:pt x="0" y="251647"/>
              </a:lnTo>
              <a:lnTo>
                <a:pt x="0" y="503295"/>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06637420-A86F-4644-990A-75D86B7E454C}">
      <dsp:nvSpPr>
        <dsp:cNvPr id="0" name=""/>
        <dsp:cNvSpPr/>
      </dsp:nvSpPr>
      <dsp:spPr>
        <a:xfrm>
          <a:off x="8569077" y="959588"/>
          <a:ext cx="3013324" cy="1956728"/>
        </a:xfrm>
        <a:prstGeom prst="roundRect">
          <a:avLst/>
        </a:prstGeom>
        <a:solidFill>
          <a:schemeClr val="accent1">
            <a:lumMod val="5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Cart Checkout Rate</a:t>
          </a:r>
          <a:endParaRPr lang="en-US" sz="1800" b="1" kern="1200" dirty="0"/>
        </a:p>
      </dsp:txBody>
      <dsp:txXfrm>
        <a:off x="8664597" y="1055108"/>
        <a:ext cx="2822284" cy="1765688"/>
      </dsp:txXfrm>
    </dsp:sp>
    <dsp:sp modelId="{91D7ADA8-1475-9349-913E-9C2D53C1D7C9}">
      <dsp:nvSpPr>
        <dsp:cNvPr id="0" name=""/>
        <dsp:cNvSpPr/>
      </dsp:nvSpPr>
      <dsp:spPr>
        <a:xfrm>
          <a:off x="6598"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implifying decision making</a:t>
          </a:r>
          <a:endParaRPr lang="en-US" sz="1800" b="1" kern="1200" dirty="0">
            <a:effectLst>
              <a:outerShdw blurRad="50800" dist="38100" dir="2700000" algn="tl" rotWithShape="0">
                <a:prstClr val="black">
                  <a:alpha val="40000"/>
                </a:prstClr>
              </a:outerShdw>
            </a:effectLst>
          </a:endParaRPr>
        </a:p>
      </dsp:txBody>
      <dsp:txXfrm>
        <a:off x="102118" y="3515132"/>
        <a:ext cx="2745927" cy="1765688"/>
      </dsp:txXfrm>
    </dsp:sp>
    <dsp:sp modelId="{2ED78204-93EC-064C-823A-1586CD82394C}">
      <dsp:nvSpPr>
        <dsp:cNvPr id="0" name=""/>
        <dsp:cNvSpPr/>
      </dsp:nvSpPr>
      <dsp:spPr>
        <a:xfrm>
          <a:off x="740840"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Addressing questions / concerns</a:t>
          </a:r>
          <a:endParaRPr lang="en-US" sz="1800" b="1" kern="1200" dirty="0">
            <a:effectLst>
              <a:outerShdw blurRad="50800" dist="38100" dir="2700000" algn="tl" rotWithShape="0">
                <a:prstClr val="black">
                  <a:alpha val="40000"/>
                </a:prstClr>
              </a:outerShdw>
            </a:effectLst>
          </a:endParaRPr>
        </a:p>
      </dsp:txBody>
      <dsp:txXfrm>
        <a:off x="836360" y="5975155"/>
        <a:ext cx="2205604" cy="1765688"/>
      </dsp:txXfrm>
    </dsp:sp>
    <dsp:sp modelId="{3B98D480-5A9A-0A4D-8BDC-FE216FA48EE4}">
      <dsp:nvSpPr>
        <dsp:cNvPr id="0" name=""/>
        <dsp:cNvSpPr/>
      </dsp:nvSpPr>
      <dsp:spPr>
        <a:xfrm>
          <a:off x="740840"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pressure of the decision</a:t>
          </a:r>
          <a:endParaRPr lang="en-US" sz="1800" b="1" kern="1200" dirty="0">
            <a:effectLst>
              <a:outerShdw blurRad="50800" dist="38100" dir="2700000" algn="tl" rotWithShape="0">
                <a:prstClr val="black">
                  <a:alpha val="40000"/>
                </a:prstClr>
              </a:outerShdw>
            </a:effectLst>
          </a:endParaRPr>
        </a:p>
      </dsp:txBody>
      <dsp:txXfrm>
        <a:off x="836360" y="8435179"/>
        <a:ext cx="2205604" cy="1765688"/>
      </dsp:txXfrm>
    </dsp:sp>
    <dsp:sp modelId="{2C0E0A56-4821-5340-9545-5653DBEF3E82}">
      <dsp:nvSpPr>
        <dsp:cNvPr id="0" name=""/>
        <dsp:cNvSpPr/>
      </dsp:nvSpPr>
      <dsp:spPr>
        <a:xfrm>
          <a:off x="740840"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implify consultation</a:t>
          </a:r>
          <a:endParaRPr lang="en-US" sz="1800" b="1" kern="1200" dirty="0">
            <a:effectLst>
              <a:outerShdw blurRad="50800" dist="38100" dir="2700000" algn="tl" rotWithShape="0">
                <a:prstClr val="black">
                  <a:alpha val="40000"/>
                </a:prstClr>
              </a:outerShdw>
            </a:effectLst>
          </a:endParaRPr>
        </a:p>
      </dsp:txBody>
      <dsp:txXfrm>
        <a:off x="836360" y="10895202"/>
        <a:ext cx="2205604" cy="1765688"/>
      </dsp:txXfrm>
    </dsp:sp>
    <dsp:sp modelId="{6A1B3FF2-4302-AB42-9144-D0C7AF33189D}">
      <dsp:nvSpPr>
        <dsp:cNvPr id="0" name=""/>
        <dsp:cNvSpPr/>
      </dsp:nvSpPr>
      <dsp:spPr>
        <a:xfrm>
          <a:off x="3446861"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eamless session continuation across visits</a:t>
          </a:r>
          <a:endParaRPr lang="en-US" sz="1800" b="1" kern="1200" dirty="0">
            <a:effectLst>
              <a:outerShdw blurRad="50800" dist="38100" dir="2700000" algn="tl" rotWithShape="0">
                <a:prstClr val="black">
                  <a:alpha val="40000"/>
                </a:prstClr>
              </a:outerShdw>
            </a:effectLst>
          </a:endParaRPr>
        </a:p>
      </dsp:txBody>
      <dsp:txXfrm>
        <a:off x="3542381" y="3515132"/>
        <a:ext cx="2745927" cy="1765688"/>
      </dsp:txXfrm>
    </dsp:sp>
    <dsp:sp modelId="{22959F47-69F7-D445-9334-5C7C176A2653}">
      <dsp:nvSpPr>
        <dsp:cNvPr id="0" name=""/>
        <dsp:cNvSpPr/>
      </dsp:nvSpPr>
      <dsp:spPr>
        <a:xfrm>
          <a:off x="4181103"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Abandon basket e-mails</a:t>
          </a:r>
          <a:endParaRPr lang="en-US" sz="1800" b="1" kern="1200" dirty="0">
            <a:effectLst>
              <a:outerShdw blurRad="50800" dist="38100" dir="2700000" algn="tl" rotWithShape="0">
                <a:prstClr val="black">
                  <a:alpha val="40000"/>
                </a:prstClr>
              </a:outerShdw>
            </a:effectLst>
          </a:endParaRPr>
        </a:p>
      </dsp:txBody>
      <dsp:txXfrm>
        <a:off x="4276623" y="5975155"/>
        <a:ext cx="2205604" cy="1765688"/>
      </dsp:txXfrm>
    </dsp:sp>
    <dsp:sp modelId="{35471471-CB84-0746-BDD4-1655B6C5471A}">
      <dsp:nvSpPr>
        <dsp:cNvPr id="0" name=""/>
        <dsp:cNvSpPr/>
      </dsp:nvSpPr>
      <dsp:spPr>
        <a:xfrm>
          <a:off x="4181103"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ush last item viewed / redirect to conversion step</a:t>
          </a:r>
          <a:endParaRPr lang="en-US" sz="1800" b="1" kern="1200" dirty="0">
            <a:effectLst>
              <a:outerShdw blurRad="50800" dist="38100" dir="2700000" algn="tl" rotWithShape="0">
                <a:prstClr val="black">
                  <a:alpha val="40000"/>
                </a:prstClr>
              </a:outerShdw>
            </a:effectLst>
          </a:endParaRPr>
        </a:p>
      </dsp:txBody>
      <dsp:txXfrm>
        <a:off x="4276623" y="8435179"/>
        <a:ext cx="2205604" cy="1765688"/>
      </dsp:txXfrm>
    </dsp:sp>
    <dsp:sp modelId="{9276651D-6194-EA49-8E09-02C1BFFFA9D5}">
      <dsp:nvSpPr>
        <dsp:cNvPr id="0" name=""/>
        <dsp:cNvSpPr/>
      </dsp:nvSpPr>
      <dsp:spPr>
        <a:xfrm>
          <a:off x="4181103"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ush the same product types</a:t>
          </a:r>
          <a:endParaRPr lang="en-US" sz="1800" b="1" kern="1200" dirty="0">
            <a:effectLst>
              <a:outerShdw blurRad="50800" dist="38100" dir="2700000" algn="tl" rotWithShape="0">
                <a:prstClr val="black">
                  <a:alpha val="40000"/>
                </a:prstClr>
              </a:outerShdw>
            </a:effectLst>
          </a:endParaRPr>
        </a:p>
      </dsp:txBody>
      <dsp:txXfrm>
        <a:off x="4276623" y="10895202"/>
        <a:ext cx="2205604" cy="1765688"/>
      </dsp:txXfrm>
    </dsp:sp>
    <dsp:sp modelId="{C98D4C05-6DFD-F848-8831-CA53C562EFA9}">
      <dsp:nvSpPr>
        <dsp:cNvPr id="0" name=""/>
        <dsp:cNvSpPr/>
      </dsp:nvSpPr>
      <dsp:spPr>
        <a:xfrm>
          <a:off x="6887124"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Funnel path optimization</a:t>
          </a:r>
          <a:endParaRPr lang="en-US" sz="1800" b="1" kern="1200" dirty="0">
            <a:effectLst>
              <a:outerShdw blurRad="50800" dist="38100" dir="2700000" algn="tl" rotWithShape="0">
                <a:prstClr val="black">
                  <a:alpha val="40000"/>
                </a:prstClr>
              </a:outerShdw>
            </a:effectLst>
          </a:endParaRPr>
        </a:p>
      </dsp:txBody>
      <dsp:txXfrm>
        <a:off x="6982644" y="3515132"/>
        <a:ext cx="2745927" cy="1765688"/>
      </dsp:txXfrm>
    </dsp:sp>
    <dsp:sp modelId="{7AAAE15D-9C55-1D43-B8B7-B04F0D48EABD}">
      <dsp:nvSpPr>
        <dsp:cNvPr id="0" name=""/>
        <dsp:cNvSpPr/>
      </dsp:nvSpPr>
      <dsp:spPr>
        <a:xfrm>
          <a:off x="7621366"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ilor user experience by selected funnel path (search v. browse v. deals)</a:t>
          </a:r>
          <a:endParaRPr lang="en-US" sz="1800" b="1" kern="1200" dirty="0">
            <a:effectLst>
              <a:outerShdw blurRad="50800" dist="38100" dir="2700000" algn="tl" rotWithShape="0">
                <a:prstClr val="black">
                  <a:alpha val="40000"/>
                </a:prstClr>
              </a:outerShdw>
            </a:effectLst>
          </a:endParaRPr>
        </a:p>
      </dsp:txBody>
      <dsp:txXfrm>
        <a:off x="7716886" y="5975155"/>
        <a:ext cx="2205604" cy="1765688"/>
      </dsp:txXfrm>
    </dsp:sp>
    <dsp:sp modelId="{7C50BECD-9391-C544-9079-7DCA06B1B106}">
      <dsp:nvSpPr>
        <dsp:cNvPr id="0" name=""/>
        <dsp:cNvSpPr/>
      </dsp:nvSpPr>
      <dsp:spPr>
        <a:xfrm>
          <a:off x="7621366"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number of steps in finding and comparing products</a:t>
          </a:r>
          <a:endParaRPr lang="en-US" sz="1800" b="1" kern="1200" dirty="0">
            <a:effectLst>
              <a:outerShdw blurRad="50800" dist="38100" dir="2700000" algn="tl" rotWithShape="0">
                <a:prstClr val="black">
                  <a:alpha val="40000"/>
                </a:prstClr>
              </a:outerShdw>
            </a:effectLst>
          </a:endParaRPr>
        </a:p>
      </dsp:txBody>
      <dsp:txXfrm>
        <a:off x="7716886" y="8435179"/>
        <a:ext cx="2205604" cy="1765688"/>
      </dsp:txXfrm>
    </dsp:sp>
    <dsp:sp modelId="{C8DB6E88-65AB-3947-BF5E-D30F973C203C}">
      <dsp:nvSpPr>
        <dsp:cNvPr id="0" name=""/>
        <dsp:cNvSpPr/>
      </dsp:nvSpPr>
      <dsp:spPr>
        <a:xfrm>
          <a:off x="7621366"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irect users to higher ROI funnel paths</a:t>
          </a:r>
          <a:endParaRPr lang="en-US" sz="1800" b="1" kern="1200" dirty="0">
            <a:effectLst>
              <a:outerShdw blurRad="50800" dist="38100" dir="2700000" algn="tl" rotWithShape="0">
                <a:prstClr val="black">
                  <a:alpha val="40000"/>
                </a:prstClr>
              </a:outerShdw>
            </a:effectLst>
          </a:endParaRPr>
        </a:p>
      </dsp:txBody>
      <dsp:txXfrm>
        <a:off x="7716886" y="10895202"/>
        <a:ext cx="2205604" cy="1765688"/>
      </dsp:txXfrm>
    </dsp:sp>
    <dsp:sp modelId="{F63DB975-E825-ED40-9ED5-8EF8047133DC}">
      <dsp:nvSpPr>
        <dsp:cNvPr id="0" name=""/>
        <dsp:cNvSpPr/>
      </dsp:nvSpPr>
      <dsp:spPr>
        <a:xfrm>
          <a:off x="10327387"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ing steps in checkout</a:t>
          </a:r>
          <a:endParaRPr lang="en-US" sz="1800" b="1" kern="1200" dirty="0">
            <a:effectLst>
              <a:outerShdw blurRad="50800" dist="38100" dir="2700000" algn="tl" rotWithShape="0">
                <a:prstClr val="black">
                  <a:alpha val="40000"/>
                </a:prstClr>
              </a:outerShdw>
            </a:effectLst>
          </a:endParaRPr>
        </a:p>
      </dsp:txBody>
      <dsp:txXfrm>
        <a:off x="10422907" y="3515132"/>
        <a:ext cx="2745927" cy="1765688"/>
      </dsp:txXfrm>
    </dsp:sp>
    <dsp:sp modelId="{BD45870A-B3FE-4649-A1E8-44ABA898ACEB}">
      <dsp:nvSpPr>
        <dsp:cNvPr id="0" name=""/>
        <dsp:cNvSpPr/>
      </dsp:nvSpPr>
      <dsp:spPr>
        <a:xfrm>
          <a:off x="11061629"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kipping upsells</a:t>
          </a:r>
          <a:endParaRPr lang="en-US" sz="1800" b="1" kern="1200" dirty="0">
            <a:effectLst>
              <a:outerShdw blurRad="50800" dist="38100" dir="2700000" algn="tl" rotWithShape="0">
                <a:prstClr val="black">
                  <a:alpha val="40000"/>
                </a:prstClr>
              </a:outerShdw>
            </a:effectLst>
          </a:endParaRPr>
        </a:p>
      </dsp:txBody>
      <dsp:txXfrm>
        <a:off x="11157149" y="5975155"/>
        <a:ext cx="2205604" cy="1765688"/>
      </dsp:txXfrm>
    </dsp:sp>
    <dsp:sp modelId="{667C8B84-66F0-D04D-AF88-0F329C747158}">
      <dsp:nvSpPr>
        <dsp:cNvPr id="0" name=""/>
        <dsp:cNvSpPr/>
      </dsp:nvSpPr>
      <dsp:spPr>
        <a:xfrm>
          <a:off x="11061629" y="8339659"/>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Reduce questions / steps</a:t>
          </a:r>
          <a:endParaRPr lang="en-US" sz="1800" b="1" kern="1200" dirty="0">
            <a:effectLst>
              <a:outerShdw blurRad="50800" dist="38100" dir="2700000" algn="tl" rotWithShape="0">
                <a:prstClr val="black">
                  <a:alpha val="40000"/>
                </a:prstClr>
              </a:outerShdw>
            </a:effectLst>
          </a:endParaRPr>
        </a:p>
      </dsp:txBody>
      <dsp:txXfrm>
        <a:off x="11157149" y="8435179"/>
        <a:ext cx="2205604" cy="1765688"/>
      </dsp:txXfrm>
    </dsp:sp>
    <dsp:sp modelId="{0B86221D-B7E4-B74C-ACB9-8C43A9AE47F7}">
      <dsp:nvSpPr>
        <dsp:cNvPr id="0" name=""/>
        <dsp:cNvSpPr/>
      </dsp:nvSpPr>
      <dsp:spPr>
        <a:xfrm>
          <a:off x="11061629"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re-fill data</a:t>
          </a:r>
          <a:endParaRPr lang="en-US" sz="1800" b="1" kern="1200" dirty="0">
            <a:effectLst>
              <a:outerShdw blurRad="50800" dist="38100" dir="2700000" algn="tl" rotWithShape="0">
                <a:prstClr val="black">
                  <a:alpha val="40000"/>
                </a:prstClr>
              </a:outerShdw>
            </a:effectLst>
          </a:endParaRPr>
        </a:p>
      </dsp:txBody>
      <dsp:txXfrm>
        <a:off x="11157149" y="10895202"/>
        <a:ext cx="2205604" cy="1765688"/>
      </dsp:txXfrm>
    </dsp:sp>
    <dsp:sp modelId="{572E3CDC-5D66-514E-8912-D04551846EC7}">
      <dsp:nvSpPr>
        <dsp:cNvPr id="0" name=""/>
        <dsp:cNvSpPr/>
      </dsp:nvSpPr>
      <dsp:spPr>
        <a:xfrm>
          <a:off x="13767650" y="3419612"/>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ersonalization</a:t>
          </a:r>
          <a:endParaRPr lang="en-US" sz="1800" b="1" kern="1200" dirty="0">
            <a:effectLst>
              <a:outerShdw blurRad="50800" dist="38100" dir="2700000" algn="tl" rotWithShape="0">
                <a:prstClr val="black">
                  <a:alpha val="40000"/>
                </a:prstClr>
              </a:outerShdw>
            </a:effectLst>
          </a:endParaRPr>
        </a:p>
      </dsp:txBody>
      <dsp:txXfrm>
        <a:off x="13863170" y="3515132"/>
        <a:ext cx="2745927" cy="1765688"/>
      </dsp:txXfrm>
    </dsp:sp>
    <dsp:sp modelId="{312925C6-1321-8C4D-8ECE-565EBD85AA53}">
      <dsp:nvSpPr>
        <dsp:cNvPr id="0" name=""/>
        <dsp:cNvSpPr/>
      </dsp:nvSpPr>
      <dsp:spPr>
        <a:xfrm>
          <a:off x="14501892" y="5879635"/>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rgeted offers / content displayed</a:t>
          </a:r>
          <a:endParaRPr lang="en-US" sz="1800" b="1" kern="1200" dirty="0">
            <a:effectLst>
              <a:outerShdw blurRad="50800" dist="38100" dir="2700000" algn="tl" rotWithShape="0">
                <a:prstClr val="black">
                  <a:alpha val="40000"/>
                </a:prstClr>
              </a:outerShdw>
            </a:effectLst>
          </a:endParaRPr>
        </a:p>
      </dsp:txBody>
      <dsp:txXfrm>
        <a:off x="14597412" y="5975155"/>
        <a:ext cx="2205604" cy="1765688"/>
      </dsp:txXfrm>
    </dsp:sp>
    <dsp:sp modelId="{96DE10DD-2A27-1E4E-A6B9-8640BCC5A191}">
      <dsp:nvSpPr>
        <dsp:cNvPr id="0" name=""/>
        <dsp:cNvSpPr/>
      </dsp:nvSpPr>
      <dsp:spPr>
        <a:xfrm>
          <a:off x="14501892" y="8339659"/>
          <a:ext cx="2396644" cy="1956728"/>
        </a:xfrm>
        <a:prstGeom prst="roundRect">
          <a:avLst/>
        </a:prstGeom>
        <a:solidFill>
          <a:schemeClr val="accent1">
            <a:lumMod val="60000"/>
            <a:lumOff val="40000"/>
          </a:schemeClr>
        </a:solidFill>
        <a:ln w="101600" cap="flat" cmpd="dbl" algn="ctr">
          <a:solidFill>
            <a:srgbClr val="FFFFFF"/>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Messaging + Unique Selling Points adjusted by user segment</a:t>
          </a:r>
          <a:endParaRPr lang="en-US" sz="1800" b="1" kern="1200" dirty="0">
            <a:effectLst>
              <a:outerShdw blurRad="50800" dist="38100" dir="2700000" algn="tl" rotWithShape="0">
                <a:prstClr val="black">
                  <a:alpha val="40000"/>
                </a:prstClr>
              </a:outerShdw>
            </a:effectLst>
          </a:endParaRPr>
        </a:p>
      </dsp:txBody>
      <dsp:txXfrm>
        <a:off x="14597412" y="8435179"/>
        <a:ext cx="2205604" cy="1765688"/>
      </dsp:txXfrm>
    </dsp:sp>
    <dsp:sp modelId="{210923D2-AC03-0946-B698-462DDD0B6542}">
      <dsp:nvSpPr>
        <dsp:cNvPr id="0" name=""/>
        <dsp:cNvSpPr/>
      </dsp:nvSpPr>
      <dsp:spPr>
        <a:xfrm>
          <a:off x="14501892"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Marketing + Imagery per audience</a:t>
          </a:r>
          <a:endParaRPr lang="en-US" sz="1800" b="1" kern="1200" dirty="0">
            <a:effectLst>
              <a:outerShdw blurRad="50800" dist="38100" dir="2700000" algn="tl" rotWithShape="0">
                <a:prstClr val="black">
                  <a:alpha val="40000"/>
                </a:prstClr>
              </a:outerShdw>
            </a:effectLst>
          </a:endParaRPr>
        </a:p>
      </dsp:txBody>
      <dsp:txXfrm>
        <a:off x="14597412" y="10895202"/>
        <a:ext cx="2205604" cy="1765688"/>
      </dsp:txXfrm>
    </dsp:sp>
    <dsp:sp modelId="{0FE69002-AB56-3740-A6BE-C29542137A47}">
      <dsp:nvSpPr>
        <dsp:cNvPr id="0" name=""/>
        <dsp:cNvSpPr/>
      </dsp:nvSpPr>
      <dsp:spPr>
        <a:xfrm>
          <a:off x="17145002" y="3428995"/>
          <a:ext cx="2936967" cy="1956728"/>
        </a:xfrm>
        <a:prstGeom prst="roundRect">
          <a:avLst/>
        </a:prstGeom>
        <a:solidFill>
          <a:schemeClr val="accent1">
            <a:hueOff val="0"/>
            <a:satOff val="0"/>
            <a:lumOff val="0"/>
            <a:alphaOff val="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Seasonality</a:t>
          </a:r>
          <a:endParaRPr lang="en-US" sz="1800" b="1" kern="1200" dirty="0">
            <a:effectLst>
              <a:outerShdw blurRad="50800" dist="38100" dir="2700000" algn="tl" rotWithShape="0">
                <a:prstClr val="black">
                  <a:alpha val="40000"/>
                </a:prstClr>
              </a:outerShdw>
            </a:effectLst>
          </a:endParaRPr>
        </a:p>
      </dsp:txBody>
      <dsp:txXfrm>
        <a:off x="17240522" y="3524515"/>
        <a:ext cx="2745927" cy="1765688"/>
      </dsp:txXfrm>
    </dsp:sp>
    <dsp:sp modelId="{3F382FC2-12CB-D943-89ED-75CADBE6B2B9}">
      <dsp:nvSpPr>
        <dsp:cNvPr id="0" name=""/>
        <dsp:cNvSpPr/>
      </dsp:nvSpPr>
      <dsp:spPr>
        <a:xfrm>
          <a:off x="17942155" y="5879635"/>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Product selection by season</a:t>
          </a:r>
          <a:endParaRPr lang="en-US" sz="1800" b="1" kern="1200" dirty="0">
            <a:effectLst>
              <a:outerShdw blurRad="50800" dist="38100" dir="2700000" algn="tl" rotWithShape="0">
                <a:prstClr val="black">
                  <a:alpha val="40000"/>
                </a:prstClr>
              </a:outerShdw>
            </a:effectLst>
          </a:endParaRPr>
        </a:p>
      </dsp:txBody>
      <dsp:txXfrm>
        <a:off x="18037675" y="5975155"/>
        <a:ext cx="2205604" cy="1765688"/>
      </dsp:txXfrm>
    </dsp:sp>
    <dsp:sp modelId="{EA99EEAC-15F9-BB4A-A17F-8DF66EAF1CDC}">
      <dsp:nvSpPr>
        <dsp:cNvPr id="0" name=""/>
        <dsp:cNvSpPr/>
      </dsp:nvSpPr>
      <dsp:spPr>
        <a:xfrm>
          <a:off x="17942155" y="8339659"/>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Tailor to varying user intent (purchase versus research)</a:t>
          </a:r>
          <a:endParaRPr lang="en-US" sz="1800" b="1" kern="1200" dirty="0">
            <a:effectLst>
              <a:outerShdw blurRad="50800" dist="38100" dir="2700000" algn="tl" rotWithShape="0">
                <a:prstClr val="black">
                  <a:alpha val="40000"/>
                </a:prstClr>
              </a:outerShdw>
            </a:effectLst>
          </a:endParaRPr>
        </a:p>
      </dsp:txBody>
      <dsp:txXfrm>
        <a:off x="18037675" y="8435179"/>
        <a:ext cx="2205604" cy="1765688"/>
      </dsp:txXfrm>
    </dsp:sp>
    <dsp:sp modelId="{72D53164-9DF1-584A-A8A9-A81741EC7864}">
      <dsp:nvSpPr>
        <dsp:cNvPr id="0" name=""/>
        <dsp:cNvSpPr/>
      </dsp:nvSpPr>
      <dsp:spPr>
        <a:xfrm>
          <a:off x="17942155" y="10799682"/>
          <a:ext cx="2396644" cy="1956728"/>
        </a:xfrm>
        <a:prstGeom prst="roundRect">
          <a:avLst/>
        </a:prstGeom>
        <a:solidFill>
          <a:schemeClr val="accent1">
            <a:lumMod val="60000"/>
            <a:lumOff val="40000"/>
          </a:schemeClr>
        </a:solidFill>
        <a:ln w="101600" cap="flat" cmpd="dbl" algn="ctr">
          <a:solidFill>
            <a:schemeClr val="bg1"/>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1440" tIns="18288" rIns="91440" bIns="11430" numCol="1" spcCol="1270" anchor="ctr" anchorCtr="0">
          <a:noAutofit/>
        </a:bodyPr>
        <a:lstStyle/>
        <a:p>
          <a:pPr lvl="0" algn="ctr" defTabSz="800100">
            <a:lnSpc>
              <a:spcPct val="90000"/>
            </a:lnSpc>
            <a:spcBef>
              <a:spcPct val="0"/>
            </a:spcBef>
            <a:spcAft>
              <a:spcPct val="35000"/>
            </a:spcAft>
          </a:pPr>
          <a:r>
            <a:rPr lang="en-US" sz="1800" b="1" kern="1200" dirty="0" smtClean="0">
              <a:effectLst>
                <a:outerShdw blurRad="50800" dist="38100" dir="2700000" algn="tl" rotWithShape="0">
                  <a:prstClr val="black">
                    <a:alpha val="40000"/>
                  </a:prstClr>
                </a:outerShdw>
              </a:effectLst>
            </a:rPr>
            <a:t>Optimize landing pages per season</a:t>
          </a:r>
          <a:endParaRPr lang="en-US" sz="1800" b="1" kern="1200" dirty="0">
            <a:effectLst>
              <a:outerShdw blurRad="50800" dist="38100" dir="2700000" algn="tl" rotWithShape="0">
                <a:prstClr val="black">
                  <a:alpha val="40000"/>
                </a:prstClr>
              </a:outerShdw>
            </a:effectLst>
          </a:endParaRPr>
        </a:p>
      </dsp:txBody>
      <dsp:txXfrm>
        <a:off x="18037675" y="10895202"/>
        <a:ext cx="2205604" cy="1765688"/>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121" name="Rectangle 1"/>
          <p:cNvSpPr>
            <a:spLocks noGrp="1" noRot="1" noChangeAspect="1"/>
          </p:cNvSpPr>
          <p:nvPr>
            <p:ph type="sldImg"/>
          </p:nvPr>
        </p:nvSpPr>
        <p:spPr bwMode="auto">
          <a:xfrm>
            <a:off x="1143000" y="685800"/>
            <a:ext cx="4572000" cy="3429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bevel/>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sp>
      <p:sp>
        <p:nvSpPr>
          <p:cNvPr id="5122" name="Rectangle 2"/>
          <p:cNvSpPr>
            <a:spLocks noGrp="1"/>
          </p:cNvSpPr>
          <p:nvPr>
            <p:ph type="body" sz="quarter" idx="1"/>
          </p:nvPr>
        </p:nvSpPr>
        <p:spPr bwMode="auto">
          <a:xfrm>
            <a:off x="914400" y="4343400"/>
            <a:ext cx="5029200" cy="41148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prstDash val="solid"/>
                <a:bevel/>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noProof="0" smtClean="0">
                <a:sym typeface="Avenir Book" charset="0"/>
              </a:rPr>
              <a:t>Click to edit Master text styles</a:t>
            </a:r>
          </a:p>
          <a:p>
            <a:pPr lvl="1"/>
            <a:r>
              <a:rPr lang="en-US" noProof="0" smtClean="0">
                <a:sym typeface="Avenir Book" charset="0"/>
              </a:rPr>
              <a:t>Second level</a:t>
            </a:r>
          </a:p>
          <a:p>
            <a:pPr lvl="2"/>
            <a:r>
              <a:rPr lang="en-US" noProof="0" smtClean="0">
                <a:sym typeface="Avenir Book" charset="0"/>
              </a:rPr>
              <a:t>Third level</a:t>
            </a:r>
          </a:p>
          <a:p>
            <a:pPr lvl="3"/>
            <a:r>
              <a:rPr lang="en-US" noProof="0" smtClean="0">
                <a:sym typeface="Avenir Book" charset="0"/>
              </a:rPr>
              <a:t>Fourth level</a:t>
            </a:r>
          </a:p>
          <a:p>
            <a:pPr lvl="4"/>
            <a:r>
              <a:rPr lang="en-US" noProof="0" smtClean="0">
                <a:sym typeface="Avenir Book" charset="0"/>
              </a:rPr>
              <a:t>Fifth level</a:t>
            </a:r>
          </a:p>
        </p:txBody>
      </p:sp>
    </p:spTree>
    <p:extLst>
      <p:ext uri="{BB962C8B-B14F-4D97-AF65-F5344CB8AC3E}">
        <p14:creationId xmlns:p14="http://schemas.microsoft.com/office/powerpoint/2010/main" val="2231671846"/>
      </p:ext>
    </p:extLst>
  </p:cSld>
  <p:clrMap bg1="lt1" tx1="dk1" bg2="lt2" tx2="dk2" accent1="accent1" accent2="accent2" accent3="accent3" accent4="accent4" accent5="accent5" accent6="accent6" hlink="hlink" folHlink="folHlink"/>
  <p:notesStyle>
    <a:lvl1pPr algn="l" defTabSz="457200" rtl="0" eaLnBrk="0" fontAlgn="base" hangingPunct="0">
      <a:lnSpc>
        <a:spcPct val="125000"/>
      </a:lnSpc>
      <a:spcBef>
        <a:spcPct val="0"/>
      </a:spcBef>
      <a:spcAft>
        <a:spcPct val="0"/>
      </a:spcAft>
      <a:defRPr sz="2400" kern="1200">
        <a:solidFill>
          <a:srgbClr val="000000"/>
        </a:solidFill>
        <a:latin typeface="Avenir Book" charset="0"/>
        <a:ea typeface="ＭＳ Ｐゴシック" charset="0"/>
        <a:cs typeface="Avenir Book" charset="0"/>
        <a:sym typeface="Avenir Book" charset="0"/>
      </a:defRPr>
    </a:lvl1pPr>
    <a:lvl2pPr indent="2286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2pPr>
    <a:lvl3pPr indent="4572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3pPr>
    <a:lvl4pPr indent="6858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4pPr>
    <a:lvl5pPr indent="914400" algn="l" defTabSz="457200" rtl="0" eaLnBrk="0" fontAlgn="base" hangingPunct="0">
      <a:lnSpc>
        <a:spcPct val="125000"/>
      </a:lnSpc>
      <a:spcBef>
        <a:spcPct val="0"/>
      </a:spcBef>
      <a:spcAft>
        <a:spcPct val="0"/>
      </a:spcAft>
      <a:defRPr sz="2400" kern="1200">
        <a:solidFill>
          <a:srgbClr val="000000"/>
        </a:solidFill>
        <a:latin typeface="Avenir Book" charset="0"/>
        <a:ea typeface="Avenir Book" charset="0"/>
        <a:cs typeface="Avenir Book" charset="0"/>
        <a:sym typeface="Avenir Book"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p:spPr>
        <p:txBody>
          <a:bodyPr/>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7464141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657589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8553113" y="698500"/>
            <a:ext cx="5619750" cy="109934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689100" y="698500"/>
            <a:ext cx="16711613" cy="109934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007599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Segue / Significant Phrase Blu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736042"/>
      </p:ext>
    </p:extLst>
  </p:cSld>
  <p:clrMapOvr>
    <a:masterClrMapping/>
  </p:clrMapOvr>
  <p:transition xmlns:p14="http://schemas.microsoft.com/office/powerpoint/2010/mai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19" name="Shape 19"/>
          <p:cNvSpPr>
            <a:spLocks noGrp="1"/>
          </p:cNvSpPr>
          <p:nvPr>
            <p:ph type="title"/>
          </p:nvPr>
        </p:nvSpPr>
        <p:spPr>
          <a:prstGeom prst="rect">
            <a:avLst/>
          </a:prstGeom>
        </p:spPr>
        <p:txBody>
          <a:bodyPr/>
          <a:lstStyle/>
          <a:p>
            <a:pPr lvl="0">
              <a:defRPr sz="1800" spc="0">
                <a:solidFill>
                  <a:srgbClr val="000000"/>
                </a:solidFill>
              </a:defRPr>
            </a:pPr>
            <a:r>
              <a:rPr sz="7000" spc="-209">
                <a:solidFill>
                  <a:srgbClr val="0081BA"/>
                </a:solidFill>
              </a:rPr>
              <a:t>Title Text</a:t>
            </a:r>
          </a:p>
        </p:txBody>
      </p:sp>
    </p:spTree>
    <p:extLst>
      <p:ext uri="{BB962C8B-B14F-4D97-AF65-F5344CB8AC3E}">
        <p14:creationId xmlns:p14="http://schemas.microsoft.com/office/powerpoint/2010/main" val="2834883907"/>
      </p:ext>
    </p:extLst>
  </p:cSld>
  <p:clrMapOvr>
    <a:masterClrMapping/>
  </p:clrMapOvr>
  <p:transition xmlns:p14="http://schemas.microsoft.com/office/powerpoint/2010/main" spd="med"/>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Slide">
    <p:spTree>
      <p:nvGrpSpPr>
        <p:cNvPr id="1" name="Shape 9"/>
        <p:cNvGrpSpPr/>
        <p:nvPr/>
      </p:nvGrpSpPr>
      <p:grpSpPr>
        <a:xfrm>
          <a:off x="0" y="0"/>
          <a:ext cx="0" cy="0"/>
          <a:chOff x="0" y="0"/>
          <a:chExt cx="0" cy="0"/>
        </a:xfrm>
      </p:grpSpPr>
      <p:sp>
        <p:nvSpPr>
          <p:cNvPr id="10" name="Shape 10"/>
          <p:cNvSpPr txBox="1">
            <a:spLocks noGrp="1"/>
          </p:cNvSpPr>
          <p:nvPr>
            <p:ph type="ctrTitle" hasCustomPrompt="1"/>
          </p:nvPr>
        </p:nvSpPr>
        <p:spPr>
          <a:xfrm>
            <a:off x="2176235" y="2709307"/>
            <a:ext cx="21010016" cy="3839984"/>
          </a:xfrm>
          <a:prstGeom prst="rect">
            <a:avLst/>
          </a:prstGeom>
          <a:noFill/>
          <a:ln>
            <a:noFill/>
          </a:ln>
        </p:spPr>
        <p:txBody>
          <a:bodyPr lIns="243794" tIns="243794" rIns="243794" bIns="243794" anchor="t" anchorCtr="0"/>
          <a:lstStyle>
            <a:lvl1pPr marL="0" marR="0" indent="0" algn="r" rtl="0">
              <a:spcBef>
                <a:spcPts val="0"/>
              </a:spcBef>
              <a:buClr>
                <a:schemeClr val="lt2"/>
              </a:buClr>
              <a:buFont typeface="Open Sans"/>
              <a:buNone/>
              <a:defRPr sz="10700" b="1" i="0" baseline="0">
                <a:solidFill>
                  <a:schemeClr val="bg1"/>
                </a:solidFill>
                <a:latin typeface="+mj-lt"/>
                <a:cs typeface="Proxima Nova"/>
              </a:defRPr>
            </a:lvl1pPr>
            <a:lvl2pPr marL="0" marR="0" indent="0" algn="l" rtl="0">
              <a:spcBef>
                <a:spcPts val="0"/>
              </a:spcBef>
              <a:defRPr/>
            </a:lvl2pPr>
            <a:lvl3pPr marL="0" marR="0" indent="0" algn="l" rtl="0">
              <a:spcBef>
                <a:spcPts val="0"/>
              </a:spcBef>
              <a:defRPr/>
            </a:lvl3pPr>
            <a:lvl4pPr marL="0" marR="0" indent="0" algn="l" rtl="0">
              <a:spcBef>
                <a:spcPts val="0"/>
              </a:spcBef>
              <a:defRPr/>
            </a:lvl4pPr>
            <a:lvl5pPr marL="0" marR="0" indent="0" algn="l" rtl="0">
              <a:spcBef>
                <a:spcPts val="0"/>
              </a:spcBef>
              <a:defRPr/>
            </a:lvl5pPr>
            <a:lvl6pPr marL="0" marR="0" indent="0" algn="l" rtl="0">
              <a:spcBef>
                <a:spcPts val="0"/>
              </a:spcBef>
              <a:defRPr/>
            </a:lvl6pPr>
            <a:lvl7pPr marL="0" marR="0" indent="0" algn="l" rtl="0">
              <a:spcBef>
                <a:spcPts val="0"/>
              </a:spcBef>
              <a:defRPr/>
            </a:lvl7pPr>
            <a:lvl8pPr marL="0" marR="0" indent="0" algn="l" rtl="0">
              <a:spcBef>
                <a:spcPts val="0"/>
              </a:spcBef>
              <a:defRPr/>
            </a:lvl8pPr>
            <a:lvl9pPr marL="0" marR="0" indent="0" algn="l" rtl="0">
              <a:spcBef>
                <a:spcPts val="0"/>
              </a:spcBef>
              <a:defRPr/>
            </a:lvl9pPr>
          </a:lstStyle>
          <a:p>
            <a:r>
              <a:rPr lang="en-US" dirty="0" smtClean="0"/>
              <a:t>Optimizely PowerPoint Template</a:t>
            </a:r>
            <a:endParaRPr dirty="0"/>
          </a:p>
        </p:txBody>
      </p:sp>
      <p:sp>
        <p:nvSpPr>
          <p:cNvPr id="11" name="Shape 11"/>
          <p:cNvSpPr txBox="1">
            <a:spLocks noGrp="1"/>
          </p:cNvSpPr>
          <p:nvPr>
            <p:ph type="subTitle" idx="1" hasCustomPrompt="1"/>
          </p:nvPr>
        </p:nvSpPr>
        <p:spPr>
          <a:xfrm>
            <a:off x="4131425" y="4963309"/>
            <a:ext cx="19054824" cy="902811"/>
          </a:xfrm>
          <a:prstGeom prst="rect">
            <a:avLst/>
          </a:prstGeom>
          <a:noFill/>
          <a:ln>
            <a:noFill/>
          </a:ln>
        </p:spPr>
        <p:txBody>
          <a:bodyPr lIns="243794" tIns="243794" rIns="243794" bIns="243794" anchor="ctr" anchorCtr="0"/>
          <a:lstStyle>
            <a:lvl1pPr marL="0" marR="0" indent="0" algn="r" rtl="0">
              <a:spcBef>
                <a:spcPts val="1067"/>
              </a:spcBef>
              <a:buClr>
                <a:schemeClr val="accent1"/>
              </a:buClr>
              <a:buFont typeface="Arial"/>
              <a:buNone/>
              <a:defRPr sz="5300" b="1" baseline="0">
                <a:solidFill>
                  <a:schemeClr val="accent6">
                    <a:lumMod val="60000"/>
                    <a:lumOff val="40000"/>
                  </a:schemeClr>
                </a:solidFill>
                <a:latin typeface="+mn-lt"/>
                <a:cs typeface="Proxima Nova"/>
              </a:defRPr>
            </a:lvl1pPr>
            <a:lvl2pPr marL="1219170" marR="0" indent="0" algn="ctr" rtl="0">
              <a:spcBef>
                <a:spcPts val="1493"/>
              </a:spcBef>
              <a:buClr>
                <a:schemeClr val="accent1"/>
              </a:buClr>
              <a:buFont typeface="Arial"/>
              <a:buNone/>
              <a:defRPr/>
            </a:lvl2pPr>
            <a:lvl3pPr marL="2438339" marR="0" indent="0" algn="ctr" rtl="0">
              <a:spcBef>
                <a:spcPts val="1280"/>
              </a:spcBef>
              <a:buClr>
                <a:schemeClr val="accent1"/>
              </a:buClr>
              <a:buFont typeface="Arial"/>
              <a:buNone/>
              <a:defRPr/>
            </a:lvl3pPr>
            <a:lvl4pPr marL="3657509" marR="0" indent="0" algn="ctr" rtl="0">
              <a:spcBef>
                <a:spcPts val="1067"/>
              </a:spcBef>
              <a:buClr>
                <a:schemeClr val="accent1"/>
              </a:buClr>
              <a:buFont typeface="Arial"/>
              <a:buNone/>
              <a:defRPr/>
            </a:lvl4pPr>
            <a:lvl5pPr marL="4876678" marR="0" indent="0" algn="ctr" rtl="0">
              <a:spcBef>
                <a:spcPts val="1067"/>
              </a:spcBef>
              <a:buClr>
                <a:schemeClr val="accent1"/>
              </a:buClr>
              <a:buFont typeface="Arial"/>
              <a:buNone/>
              <a:defRPr/>
            </a:lvl5pPr>
            <a:lvl6pPr marL="6095848" marR="0" indent="0" algn="ctr" rtl="0">
              <a:spcBef>
                <a:spcPts val="1067"/>
              </a:spcBef>
              <a:buClr>
                <a:srgbClr val="888888"/>
              </a:buClr>
              <a:buFont typeface="Arial"/>
              <a:buNone/>
              <a:defRPr/>
            </a:lvl6pPr>
            <a:lvl7pPr marL="7315017" marR="0" indent="0" algn="ctr" rtl="0">
              <a:spcBef>
                <a:spcPts val="1067"/>
              </a:spcBef>
              <a:buClr>
                <a:srgbClr val="888888"/>
              </a:buClr>
              <a:buFont typeface="Arial"/>
              <a:buNone/>
              <a:defRPr/>
            </a:lvl7pPr>
            <a:lvl8pPr marL="8534187" marR="0" indent="0" algn="ctr" rtl="0">
              <a:spcBef>
                <a:spcPts val="1067"/>
              </a:spcBef>
              <a:buClr>
                <a:srgbClr val="888888"/>
              </a:buClr>
              <a:buFont typeface="Arial"/>
              <a:buNone/>
              <a:defRPr/>
            </a:lvl8pPr>
            <a:lvl9pPr marL="9753356" marR="0" indent="0" algn="ctr" rtl="0">
              <a:spcBef>
                <a:spcPts val="1067"/>
              </a:spcBef>
              <a:buClr>
                <a:srgbClr val="888888"/>
              </a:buClr>
              <a:buFont typeface="Arial"/>
              <a:buNone/>
              <a:defRPr/>
            </a:lvl9pPr>
          </a:lstStyle>
          <a:p>
            <a:r>
              <a:rPr lang="en-US" dirty="0" smtClean="0"/>
              <a:t>August 2015</a:t>
            </a:r>
            <a:endParaRPr dirty="0"/>
          </a:p>
        </p:txBody>
      </p:sp>
      <p:sp>
        <p:nvSpPr>
          <p:cNvPr id="12" name="Shape 12"/>
          <p:cNvSpPr txBox="1">
            <a:spLocks noGrp="1"/>
          </p:cNvSpPr>
          <p:nvPr>
            <p:ph type="body" idx="2" hasCustomPrompt="1"/>
          </p:nvPr>
        </p:nvSpPr>
        <p:spPr>
          <a:xfrm>
            <a:off x="12128500" y="10853276"/>
            <a:ext cx="11057747" cy="1000072"/>
          </a:xfrm>
          <a:prstGeom prst="rect">
            <a:avLst/>
          </a:prstGeom>
          <a:noFill/>
          <a:ln>
            <a:noFill/>
          </a:ln>
        </p:spPr>
        <p:txBody>
          <a:bodyPr lIns="243794" tIns="243794" rIns="243794" bIns="243794" anchor="t" anchorCtr="0"/>
          <a:lstStyle>
            <a:lvl1pPr marL="0" indent="0" algn="r" rtl="0">
              <a:spcBef>
                <a:spcPts val="0"/>
              </a:spcBef>
              <a:buClr>
                <a:srgbClr val="F8F8F8"/>
              </a:buClr>
              <a:buFont typeface="Open Sans"/>
              <a:buNone/>
              <a:defRPr baseline="0">
                <a:solidFill>
                  <a:schemeClr val="accent6">
                    <a:lumMod val="60000"/>
                    <a:lumOff val="40000"/>
                  </a:schemeClr>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ployee Role</a:t>
            </a:r>
            <a:endParaRPr dirty="0"/>
          </a:p>
        </p:txBody>
      </p:sp>
      <p:sp>
        <p:nvSpPr>
          <p:cNvPr id="13" name="Shape 13"/>
          <p:cNvSpPr txBox="1">
            <a:spLocks noGrp="1"/>
          </p:cNvSpPr>
          <p:nvPr>
            <p:ph type="body" idx="3" hasCustomPrompt="1"/>
          </p:nvPr>
        </p:nvSpPr>
        <p:spPr>
          <a:xfrm>
            <a:off x="12128500" y="11595100"/>
            <a:ext cx="11057747" cy="1000072"/>
          </a:xfrm>
          <a:prstGeom prst="rect">
            <a:avLst/>
          </a:prstGeom>
          <a:noFill/>
          <a:ln>
            <a:noFill/>
          </a:ln>
        </p:spPr>
        <p:txBody>
          <a:bodyPr lIns="243794" tIns="243794" rIns="243794" bIns="243794" anchor="t" anchorCtr="0"/>
          <a:lstStyle>
            <a:lvl1pPr marL="0" indent="0" algn="r" rtl="0">
              <a:spcBef>
                <a:spcPts val="0"/>
              </a:spcBef>
              <a:buClr>
                <a:srgbClr val="92E1FF"/>
              </a:buClr>
              <a:buFont typeface="Open Sans"/>
              <a:buNone/>
              <a:defRPr sz="3700" baseline="0">
                <a:solidFill>
                  <a:schemeClr val="accent6">
                    <a:lumMod val="60000"/>
                    <a:lumOff val="40000"/>
                  </a:schemeClr>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ail or twitter handle</a:t>
            </a:r>
            <a:endParaRPr dirty="0"/>
          </a:p>
        </p:txBody>
      </p:sp>
      <p:sp>
        <p:nvSpPr>
          <p:cNvPr id="14" name="Shape 14"/>
          <p:cNvSpPr txBox="1">
            <a:spLocks noGrp="1"/>
          </p:cNvSpPr>
          <p:nvPr>
            <p:ph type="body" idx="4" hasCustomPrompt="1"/>
          </p:nvPr>
        </p:nvSpPr>
        <p:spPr>
          <a:xfrm>
            <a:off x="12128500" y="10056415"/>
            <a:ext cx="11057747" cy="1000072"/>
          </a:xfrm>
          <a:prstGeom prst="rect">
            <a:avLst/>
          </a:prstGeom>
          <a:noFill/>
          <a:ln>
            <a:noFill/>
          </a:ln>
        </p:spPr>
        <p:txBody>
          <a:bodyPr lIns="243794" tIns="243794" rIns="243794" bIns="243794" anchor="t" anchorCtr="0"/>
          <a:lstStyle>
            <a:lvl1pPr marL="0" indent="0" algn="r" rtl="0">
              <a:spcBef>
                <a:spcPts val="0"/>
              </a:spcBef>
              <a:buClr>
                <a:schemeClr val="lt2"/>
              </a:buClr>
              <a:buFont typeface="Open Sans"/>
              <a:buNone/>
              <a:defRPr b="1" baseline="0">
                <a:solidFill>
                  <a:schemeClr val="bg1"/>
                </a:solidFill>
                <a:latin typeface="+mn-lt"/>
                <a:cs typeface="Proxima Nova"/>
              </a:defRPr>
            </a:lvl1pPr>
            <a:lvl2pPr rtl="0">
              <a:spcBef>
                <a:spcPts val="0"/>
              </a:spcBef>
              <a:defRPr/>
            </a:lvl2pPr>
            <a:lvl3pPr rtl="0">
              <a:spcBef>
                <a:spcPts val="0"/>
              </a:spcBef>
              <a:defRPr/>
            </a:lvl3pPr>
            <a:lvl4pPr rtl="0">
              <a:spcBef>
                <a:spcPts val="0"/>
              </a:spcBef>
              <a:defRPr/>
            </a:lvl4pPr>
            <a:lvl5pPr rtl="0">
              <a:spcBef>
                <a:spcPts val="0"/>
              </a:spcBef>
              <a:defRPr/>
            </a:lvl5pPr>
            <a:lvl6pPr rtl="0">
              <a:spcBef>
                <a:spcPts val="0"/>
              </a:spcBef>
              <a:defRPr/>
            </a:lvl6pPr>
            <a:lvl7pPr rtl="0">
              <a:spcBef>
                <a:spcPts val="0"/>
              </a:spcBef>
              <a:defRPr/>
            </a:lvl7pPr>
            <a:lvl8pPr rtl="0">
              <a:spcBef>
                <a:spcPts val="0"/>
              </a:spcBef>
              <a:defRPr/>
            </a:lvl8pPr>
            <a:lvl9pPr rtl="0">
              <a:spcBef>
                <a:spcPts val="0"/>
              </a:spcBef>
              <a:defRPr/>
            </a:lvl9pPr>
          </a:lstStyle>
          <a:p>
            <a:r>
              <a:rPr lang="en-US" dirty="0" smtClean="0"/>
              <a:t>Employee Name</a:t>
            </a:r>
            <a:endParaRPr dirty="0"/>
          </a:p>
        </p:txBody>
      </p:sp>
      <p:pic>
        <p:nvPicPr>
          <p:cNvPr id="8" name="Picture 7"/>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1072859" y="11667429"/>
            <a:ext cx="5439963" cy="1167248"/>
          </a:xfrm>
          <a:prstGeom prst="rect">
            <a:avLst/>
          </a:prstGeom>
        </p:spPr>
      </p:pic>
    </p:spTree>
    <p:extLst>
      <p:ext uri="{BB962C8B-B14F-4D97-AF65-F5344CB8AC3E}">
        <p14:creationId xmlns:p14="http://schemas.microsoft.com/office/powerpoint/2010/main" val="25472686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317126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idx="1"/>
          </p:nvPr>
        </p:nvSpPr>
        <p:spPr>
          <a:xfrm>
            <a:off x="1219200" y="3200400"/>
            <a:ext cx="21945600" cy="90519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239920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743988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1219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2268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69655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884318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803266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10444917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94111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849469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305113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3200400"/>
            <a:ext cx="21945600" cy="90519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382760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5"/>
            <a:ext cx="5486400" cy="11703050"/>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549275"/>
            <a:ext cx="16306800" cy="117030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21726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828800" y="4260850"/>
            <a:ext cx="20726400" cy="2940050"/>
          </a:xfrm>
          <a:prstGeom prst="rect">
            <a:avLst/>
          </a:prstGeom>
        </p:spPr>
        <p:txBody>
          <a:bodyPr vert="horz"/>
          <a:lstStyle/>
          <a:p>
            <a:r>
              <a:rPr lang="en-US" smtClean="0"/>
              <a:t>Click to edit Master title style</a:t>
            </a:r>
            <a:endParaRPr lang="en-US"/>
          </a:p>
        </p:txBody>
      </p:sp>
      <p:sp>
        <p:nvSpPr>
          <p:cNvPr id="3" name="Subtitle 2"/>
          <p:cNvSpPr>
            <a:spLocks noGrp="1"/>
          </p:cNvSpPr>
          <p:nvPr>
            <p:ph type="subTitle" idx="1"/>
          </p:nvPr>
        </p:nvSpPr>
        <p:spPr>
          <a:xfrm>
            <a:off x="3657600" y="7772400"/>
            <a:ext cx="17068800" cy="3505200"/>
          </a:xfrm>
          <a:prstGeom prst="rect">
            <a:avLst/>
          </a:prstGeom>
        </p:spPr>
        <p:txBody>
          <a:bodyPr vert="horz"/>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7893978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idx="1"/>
          </p:nvPr>
        </p:nvSpPr>
        <p:spPr>
          <a:xfrm>
            <a:off x="1219200" y="3200400"/>
            <a:ext cx="21945600" cy="905192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72788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a:prstGeom prst="rect">
            <a:avLst/>
          </a:prstGeom>
        </p:spPr>
        <p:txBody>
          <a:bodyPr vert="horz"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a:prstGeom prst="rect">
            <a:avLst/>
          </a:prstGeom>
        </p:spPr>
        <p:txBody>
          <a:bodyPr vert="horz"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1420107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Content Placeholder 2"/>
          <p:cNvSpPr>
            <a:spLocks noGrp="1"/>
          </p:cNvSpPr>
          <p:nvPr>
            <p:ph sz="half" idx="1"/>
          </p:nvPr>
        </p:nvSpPr>
        <p:spPr>
          <a:xfrm>
            <a:off x="1219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2268200" y="3200400"/>
            <a:ext cx="10896600" cy="9051925"/>
          </a:xfrm>
          <a:prstGeom prst="rect">
            <a:avLst/>
          </a:prstGeom>
        </p:spPr>
        <p:txBody>
          <a:bodyPr vert="horz"/>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31966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925638" y="8813800"/>
            <a:ext cx="20726400" cy="2724150"/>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1925638" y="5813425"/>
            <a:ext cx="20726400" cy="30003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400350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a:prstGeom prst="rect">
            <a:avLst/>
          </a:prstGeom>
        </p:spPr>
        <p:txBody>
          <a:bodyPr vert="horz"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a:prstGeom prst="rect">
            <a:avLst/>
          </a:prstGeom>
        </p:spPr>
        <p:txBody>
          <a:bodyPr vert="horz"/>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04572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Tree>
    <p:extLst>
      <p:ext uri="{BB962C8B-B14F-4D97-AF65-F5344CB8AC3E}">
        <p14:creationId xmlns:p14="http://schemas.microsoft.com/office/powerpoint/2010/main" val="27684899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7484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a:prstGeom prst="rect">
            <a:avLst/>
          </a:prstGeom>
        </p:spPr>
        <p:txBody>
          <a:bodyPr vert="horz"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a:prstGeom prst="rect">
            <a:avLst/>
          </a:prstGeom>
        </p:spPr>
        <p:txBody>
          <a:bodyPr vert="horz"/>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35361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a:prstGeom prst="rect">
            <a:avLst/>
          </a:prstGeom>
        </p:spPr>
        <p:txBody>
          <a:bodyPr vert="horz"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a:prstGeom prst="rect">
            <a:avLst/>
          </a:prstGeom>
        </p:spPr>
        <p:txBody>
          <a:bodyPr vert="horz"/>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a:prstGeom prst="rect">
            <a:avLst/>
          </a:prstGeom>
        </p:spPr>
        <p:txBody>
          <a:bodyPr vert="horz"/>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713280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a:prstGeom prst="rect">
            <a:avLst/>
          </a:prstGeom>
        </p:spPr>
        <p:txBody>
          <a:bodyPr vert="horz"/>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3200400"/>
            <a:ext cx="21945600" cy="90519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460923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678400" y="549275"/>
            <a:ext cx="5486400" cy="11703050"/>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219200" y="549275"/>
            <a:ext cx="16306800" cy="11703050"/>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48656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167063" y="2990850"/>
            <a:ext cx="10426700" cy="8701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3746163" y="2990850"/>
            <a:ext cx="10426700" cy="8701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79882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9275"/>
            <a:ext cx="21945600" cy="2286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1219200" y="3070225"/>
            <a:ext cx="10774363" cy="12795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219200" y="4349750"/>
            <a:ext cx="10774363" cy="79025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12387263" y="3070225"/>
            <a:ext cx="10777537" cy="12795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12387263" y="4349750"/>
            <a:ext cx="10777537" cy="790257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574126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422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04080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19200" y="546100"/>
            <a:ext cx="8021638" cy="232410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9532938" y="546100"/>
            <a:ext cx="13631862" cy="117062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1219200" y="2870200"/>
            <a:ext cx="8021638" cy="93821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2190491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79963" y="9601200"/>
            <a:ext cx="14630400" cy="1133475"/>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4779963" y="1225550"/>
            <a:ext cx="14630400" cy="8229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sym typeface="Verdana" charset="0"/>
            </a:endParaRPr>
          </a:p>
        </p:txBody>
      </p:sp>
      <p:sp>
        <p:nvSpPr>
          <p:cNvPr id="4" name="Text Placeholder 3"/>
          <p:cNvSpPr>
            <a:spLocks noGrp="1"/>
          </p:cNvSpPr>
          <p:nvPr>
            <p:ph type="body" sz="half" idx="2"/>
          </p:nvPr>
        </p:nvSpPr>
        <p:spPr>
          <a:xfrm>
            <a:off x="4779963" y="10734675"/>
            <a:ext cx="14630400" cy="16097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681986336"/>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image" Target="../media/image2.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5.xml"/><Relationship Id="rId12" Type="http://schemas.openxmlformats.org/officeDocument/2006/relationships/theme" Target="../theme/theme2.xml"/><Relationship Id="rId13" Type="http://schemas.openxmlformats.org/officeDocument/2006/relationships/image" Target="../media/image4.png"/><Relationship Id="rId1" Type="http://schemas.openxmlformats.org/officeDocument/2006/relationships/slideLayout" Target="../slideLayouts/slideLayout15.xml"/><Relationship Id="rId2" Type="http://schemas.openxmlformats.org/officeDocument/2006/relationships/slideLayout" Target="../slideLayouts/slideLayout16.xml"/><Relationship Id="rId3" Type="http://schemas.openxmlformats.org/officeDocument/2006/relationships/slideLayout" Target="../slideLayouts/slideLayout17.xml"/><Relationship Id="rId4" Type="http://schemas.openxmlformats.org/officeDocument/2006/relationships/slideLayout" Target="../slideLayouts/slideLayout18.xml"/><Relationship Id="rId5" Type="http://schemas.openxmlformats.org/officeDocument/2006/relationships/slideLayout" Target="../slideLayouts/slideLayout19.xml"/><Relationship Id="rId6" Type="http://schemas.openxmlformats.org/officeDocument/2006/relationships/slideLayout" Target="../slideLayouts/slideLayout20.xml"/><Relationship Id="rId7" Type="http://schemas.openxmlformats.org/officeDocument/2006/relationships/slideLayout" Target="../slideLayouts/slideLayout21.xml"/><Relationship Id="rId8" Type="http://schemas.openxmlformats.org/officeDocument/2006/relationships/slideLayout" Target="../slideLayouts/slideLayout22.xml"/><Relationship Id="rId9" Type="http://schemas.openxmlformats.org/officeDocument/2006/relationships/slideLayout" Target="../slideLayouts/slideLayout23.xml"/><Relationship Id="rId10"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6.xml"/><Relationship Id="rId12" Type="http://schemas.openxmlformats.org/officeDocument/2006/relationships/theme" Target="../theme/theme3.xml"/><Relationship Id="rId13" Type="http://schemas.openxmlformats.org/officeDocument/2006/relationships/image" Target="../media/image5.png"/><Relationship Id="rId1" Type="http://schemas.openxmlformats.org/officeDocument/2006/relationships/slideLayout" Target="../slideLayouts/slideLayout26.xml"/><Relationship Id="rId2" Type="http://schemas.openxmlformats.org/officeDocument/2006/relationships/slideLayout" Target="../slideLayouts/slideLayout27.xml"/><Relationship Id="rId3" Type="http://schemas.openxmlformats.org/officeDocument/2006/relationships/slideLayout" Target="../slideLayouts/slideLayout28.xml"/><Relationship Id="rId4" Type="http://schemas.openxmlformats.org/officeDocument/2006/relationships/slideLayout" Target="../slideLayouts/slideLayout29.xml"/><Relationship Id="rId5" Type="http://schemas.openxmlformats.org/officeDocument/2006/relationships/slideLayout" Target="../slideLayouts/slideLayout30.xml"/><Relationship Id="rId6" Type="http://schemas.openxmlformats.org/officeDocument/2006/relationships/slideLayout" Target="../slideLayouts/slideLayout31.xml"/><Relationship Id="rId7" Type="http://schemas.openxmlformats.org/officeDocument/2006/relationships/slideLayout" Target="../slideLayouts/slideLayout32.xml"/><Relationship Id="rId8" Type="http://schemas.openxmlformats.org/officeDocument/2006/relationships/slideLayout" Target="../slideLayouts/slideLayout33.xml"/><Relationship Id="rId9" Type="http://schemas.openxmlformats.org/officeDocument/2006/relationships/slideLayout" Target="../slideLayouts/slideLayout34.xml"/><Relationship Id="rId10"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sp>
        <p:nvSpPr>
          <p:cNvPr id="1025" name="Rectangle 1"/>
          <p:cNvSpPr>
            <a:spLocks noGrp="1"/>
          </p:cNvSpPr>
          <p:nvPr>
            <p:ph type="body" idx="1"/>
          </p:nvPr>
        </p:nvSpPr>
        <p:spPr bwMode="auto">
          <a:xfrm>
            <a:off x="3167063" y="2990850"/>
            <a:ext cx="21005800" cy="87010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dirty="0">
                <a:sym typeface="Verdana" charset="0"/>
              </a:rPr>
              <a:t>Click to edit Master text styles</a:t>
            </a:r>
          </a:p>
          <a:p>
            <a:pPr lvl="1"/>
            <a:r>
              <a:rPr lang="en-US" dirty="0">
                <a:sym typeface="Verdana" charset="0"/>
              </a:rPr>
              <a:t>Second level</a:t>
            </a:r>
          </a:p>
          <a:p>
            <a:pPr lvl="2"/>
            <a:r>
              <a:rPr lang="en-US" dirty="0">
                <a:sym typeface="Verdana" charset="0"/>
              </a:rPr>
              <a:t>Third level</a:t>
            </a:r>
          </a:p>
          <a:p>
            <a:pPr lvl="3"/>
            <a:r>
              <a:rPr lang="en-US" dirty="0">
                <a:sym typeface="Verdana" charset="0"/>
              </a:rPr>
              <a:t>Fourth level</a:t>
            </a:r>
          </a:p>
          <a:p>
            <a:pPr lvl="4"/>
            <a:r>
              <a:rPr lang="en-US" dirty="0">
                <a:sym typeface="Verdana" charset="0"/>
              </a:rPr>
              <a:t>Fifth level</a:t>
            </a:r>
          </a:p>
        </p:txBody>
      </p:sp>
      <p:pic>
        <p:nvPicPr>
          <p:cNvPr id="1026" name="Picture 2" descr="pasted-image.pdf"/>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635000" y="12827000"/>
            <a:ext cx="2070100" cy="44291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1027" name="Rectangle 3"/>
          <p:cNvSpPr>
            <a:spLocks noGrp="1"/>
          </p:cNvSpPr>
          <p:nvPr>
            <p:ph type="title"/>
          </p:nvPr>
        </p:nvSpPr>
        <p:spPr bwMode="auto">
          <a:xfrm>
            <a:off x="1689100" y="698500"/>
            <a:ext cx="21005800" cy="22860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FAA26D3D-D897-4be2-8F04-BA451C77F1D7}">
              <ma14:placeholderFlag xmlns:ma14="http://schemas.microsoft.com/office/mac/drawingml/2011/main" val="1"/>
            </a:ext>
          </a:extLst>
        </p:spPr>
        <p:txBody>
          <a:bodyPr vert="horz" wrap="square" lIns="0" tIns="0" rIns="0" bIns="0" numCol="1" anchor="ctr" anchorCtr="0" compatLnSpc="1">
            <a:prstTxWarp prst="textNoShape">
              <a:avLst/>
            </a:prstTxWarp>
          </a:bodyPr>
          <a:lstStyle/>
          <a:p>
            <a:pPr lvl="0"/>
            <a:r>
              <a:rPr lang="en-US" dirty="0">
                <a:sym typeface="Verdana" charset="0"/>
              </a:rPr>
              <a:t>Click to edit Master title style</a:t>
            </a:r>
          </a:p>
        </p:txBody>
      </p:sp>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86" r:id="rId12"/>
    <p:sldLayoutId id="2147483687" r:id="rId13"/>
    <p:sldLayoutId id="2147483689" r:id="rId14"/>
  </p:sldLayoutIdLst>
  <p:txStyles>
    <p:titleStyle>
      <a:lvl1pPr algn="ctr" defTabSz="825500" rtl="0" eaLnBrk="0" fontAlgn="base" hangingPunct="0">
        <a:spcBef>
          <a:spcPct val="0"/>
        </a:spcBef>
        <a:spcAft>
          <a:spcPct val="0"/>
        </a:spcAft>
        <a:defRPr sz="7000">
          <a:solidFill>
            <a:srgbClr val="0081BA"/>
          </a:solidFill>
          <a:latin typeface="Gotham Book"/>
          <a:ea typeface="+mj-ea"/>
          <a:cs typeface="Gotham Book"/>
          <a:sym typeface="Verdana" charset="0"/>
        </a:defRPr>
      </a:lvl1pPr>
      <a:lvl2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Gotham Book"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mn-ea"/>
          <a:cs typeface="Gotham Book"/>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Gotham Book"/>
          <a:ea typeface="Verdana" charset="0"/>
          <a:cs typeface="Gotham Book"/>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pic>
        <p:nvPicPr>
          <p:cNvPr id="2049" name="Picture 1" descr="opt_circle_mark_BLACK.png"/>
          <p:cNvPicPr>
            <a:picLocks noChangeAspect="1"/>
          </p:cNvPicPr>
          <p:nvPr/>
        </p:nvPicPr>
        <p:blipFill>
          <a:blip r:embed="rId13">
            <a:alphaModFix amt="15000"/>
            <a:extLst>
              <a:ext uri="{28A0092B-C50C-407E-A947-70E740481C1C}">
                <a14:useLocalDpi xmlns:a14="http://schemas.microsoft.com/office/drawing/2010/main" val="0"/>
              </a:ext>
            </a:extLst>
          </a:blip>
          <a:srcRect/>
          <a:stretch>
            <a:fillRect/>
          </a:stretch>
        </p:blipFill>
        <p:spPr bwMode="auto">
          <a:xfrm>
            <a:off x="-598488" y="6678613"/>
            <a:ext cx="7513638" cy="7262812"/>
          </a:xfrm>
          <a:prstGeom prst="rect">
            <a:avLst/>
          </a:prstGeom>
          <a:noFill/>
          <a:ln>
            <a:noFill/>
          </a:ln>
          <a:effectLst/>
          <a:extLst>
            <a:ext uri="{909E8E84-426E-40dd-AFC4-6F175D3DCCD1}">
              <a14:hiddenFill xmlns:a14="http://schemas.microsoft.com/office/drawing/2010/main">
                <a:solidFill>
                  <a:srgbClr val="FFFFFF">
                    <a:alpha val="14999"/>
                  </a:srgbClr>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ctr" defTabSz="825500" rtl="0" eaLnBrk="0" fontAlgn="base" hangingPunct="0">
        <a:spcBef>
          <a:spcPct val="0"/>
        </a:spcBef>
        <a:spcAft>
          <a:spcPct val="0"/>
        </a:spcAft>
        <a:defRPr sz="7000">
          <a:solidFill>
            <a:srgbClr val="0081BA"/>
          </a:solidFill>
          <a:latin typeface="+mj-lt"/>
          <a:ea typeface="+mj-ea"/>
          <a:cs typeface="+mj-cs"/>
          <a:sym typeface="Verdana" charset="0"/>
        </a:defRPr>
      </a:lvl1pPr>
      <a:lvl2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mn-lt"/>
          <a:ea typeface="+mn-ea"/>
          <a:cs typeface="+mn-cs"/>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auto">
      <p:bgPr>
        <a:solidFill>
          <a:srgbClr val="0480BA"/>
        </a:solidFill>
        <a:effectLst/>
      </p:bgPr>
    </p:bg>
    <p:spTree>
      <p:nvGrpSpPr>
        <p:cNvPr id="1" name=""/>
        <p:cNvGrpSpPr/>
        <p:nvPr/>
      </p:nvGrpSpPr>
      <p:grpSpPr>
        <a:xfrm>
          <a:off x="0" y="0"/>
          <a:ext cx="0" cy="0"/>
          <a:chOff x="0" y="0"/>
          <a:chExt cx="0" cy="0"/>
        </a:xfrm>
      </p:grpSpPr>
      <p:pic>
        <p:nvPicPr>
          <p:cNvPr id="4097" name="Picture 1" descr="optimizely_logo_WHITE.pdf"/>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859713" y="5929313"/>
            <a:ext cx="8662987" cy="18557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Tree>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825500" rtl="0" eaLnBrk="0" fontAlgn="base" hangingPunct="0">
        <a:spcBef>
          <a:spcPct val="0"/>
        </a:spcBef>
        <a:spcAft>
          <a:spcPct val="0"/>
        </a:spcAft>
        <a:defRPr sz="7000">
          <a:solidFill>
            <a:srgbClr val="0081BA"/>
          </a:solidFill>
          <a:latin typeface="+mj-lt"/>
          <a:ea typeface="+mj-ea"/>
          <a:cs typeface="+mj-cs"/>
          <a:sym typeface="Verdana" charset="0"/>
        </a:defRPr>
      </a:lvl1pPr>
      <a:lvl2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2pPr>
      <a:lvl3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3pPr>
      <a:lvl4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4pPr>
      <a:lvl5pPr algn="ctr" defTabSz="825500" rtl="0" eaLnBrk="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5pPr>
      <a:lvl6pPr marL="4572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6pPr>
      <a:lvl7pPr marL="9144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7pPr>
      <a:lvl8pPr marL="13716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8pPr>
      <a:lvl9pPr marL="1828800" algn="ctr" defTabSz="825500" rtl="0" fontAlgn="base" hangingPunct="0">
        <a:spcBef>
          <a:spcPct val="0"/>
        </a:spcBef>
        <a:spcAft>
          <a:spcPct val="0"/>
        </a:spcAft>
        <a:defRPr sz="7000">
          <a:solidFill>
            <a:srgbClr val="0081BA"/>
          </a:solidFill>
          <a:latin typeface="Verdana" charset="0"/>
          <a:ea typeface="ＭＳ Ｐゴシック" charset="0"/>
          <a:cs typeface="Verdana" charset="0"/>
          <a:sym typeface="Verdana" charset="0"/>
        </a:defRPr>
      </a:lvl9pPr>
    </p:titleStyle>
    <p:bodyStyle>
      <a:lvl1pPr marL="444500" indent="-444500" algn="l" defTabSz="825500" rtl="0" eaLnBrk="0" fontAlgn="base" hangingPunct="0">
        <a:spcBef>
          <a:spcPts val="3000"/>
        </a:spcBef>
        <a:spcAft>
          <a:spcPct val="0"/>
        </a:spcAft>
        <a:buClr>
          <a:srgbClr val="4A88C4"/>
        </a:buClr>
        <a:buSzPct val="75000"/>
        <a:buChar char="•"/>
        <a:defRPr sz="5500">
          <a:solidFill>
            <a:srgbClr val="424242"/>
          </a:solidFill>
          <a:latin typeface="+mn-lt"/>
          <a:ea typeface="+mn-ea"/>
          <a:cs typeface="+mn-cs"/>
          <a:sym typeface="Verdana" charset="0"/>
        </a:defRPr>
      </a:lvl1pPr>
      <a:lvl2pPr marL="130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2pPr>
      <a:lvl3pPr marL="194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3pPr>
      <a:lvl4pPr marL="2576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4pPr>
      <a:lvl5pPr marL="3211513" indent="-671513" algn="l" defTabSz="825500" rtl="0" eaLnBrk="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5pPr>
      <a:lvl6pPr marL="36687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6pPr>
      <a:lvl7pPr marL="41259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7pPr>
      <a:lvl8pPr marL="45831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8pPr>
      <a:lvl9pPr marL="5040313" indent="-671513" algn="l" defTabSz="825500" rtl="0" fontAlgn="base" hangingPunct="0">
        <a:spcBef>
          <a:spcPts val="3000"/>
        </a:spcBef>
        <a:spcAft>
          <a:spcPct val="0"/>
        </a:spcAft>
        <a:buClr>
          <a:srgbClr val="4A88C4"/>
        </a:buClr>
        <a:buSzPct val="75000"/>
        <a:buChar char="•"/>
        <a:defRPr sz="5500">
          <a:solidFill>
            <a:srgbClr val="424242"/>
          </a:solidFill>
          <a:latin typeface="+mn-lt"/>
          <a:ea typeface="Verdana" charset="0"/>
          <a:cs typeface="+mn-cs"/>
          <a:sym typeface="Verdana" charset="0"/>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hyperlink" Target="https://help.optimizely.com/hc/en-us/articles/216014487-Running-your-optimization-program" TargetMode="External"/><Relationship Id="rId3" Type="http://schemas.openxmlformats.org/officeDocument/2006/relationships/hyperlink" Target="https://help.optimizely.com/hc/en-us/articles/213337357-Connect-your-testing-program-to-company-metrics"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18.xml"/><Relationship Id="rId2" Type="http://schemas.openxmlformats.org/officeDocument/2006/relationships/diagramData" Target="../diagrams/data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2.xml"/><Relationship Id="rId4" Type="http://schemas.openxmlformats.org/officeDocument/2006/relationships/diagramQuickStyle" Target="../diagrams/quickStyle2.xml"/><Relationship Id="rId5" Type="http://schemas.openxmlformats.org/officeDocument/2006/relationships/diagramColors" Target="../diagrams/colors2.xml"/><Relationship Id="rId6" Type="http://schemas.microsoft.com/office/2007/relationships/diagramDrawing" Target="../diagrams/drawing2.xml"/><Relationship Id="rId1" Type="http://schemas.openxmlformats.org/officeDocument/2006/relationships/slideLayout" Target="../slideLayouts/slideLayout4.xml"/><Relationship Id="rId2"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Layout" Target="../slideLayouts/slideLayout4.xml"/><Relationship Id="rId7" Type="http://schemas.openxmlformats.org/officeDocument/2006/relationships/diagramData" Target="../diagrams/data3.xml"/><Relationship Id="rId8" Type="http://schemas.openxmlformats.org/officeDocument/2006/relationships/diagramLayout" Target="../diagrams/layout3.xml"/><Relationship Id="rId9" Type="http://schemas.openxmlformats.org/officeDocument/2006/relationships/diagramQuickStyle" Target="../diagrams/quickStyle3.xml"/><Relationship Id="rId10" Type="http://schemas.openxmlformats.org/officeDocument/2006/relationships/diagramColors" Target="../diagrams/colors3.xml"/><Relationship Id="rId11" Type="http://schemas.microsoft.com/office/2007/relationships/diagramDrawing" Target="../diagrams/drawing3.xml"/><Relationship Id="rId1" Type="http://schemas.openxmlformats.org/officeDocument/2006/relationships/tags" Target="../tags/tag1.xml"/><Relationship Id="rId2" Type="http://schemas.openxmlformats.org/officeDocument/2006/relationships/tags" Target="../tags/tag2.xml"/></Relationships>
</file>

<file path=ppt/slides/_rels/slide8.xml.rels><?xml version="1.0" encoding="UTF-8" standalone="yes"?>
<Relationships xmlns="http://schemas.openxmlformats.org/package/2006/relationships"><Relationship Id="rId3" Type="http://schemas.openxmlformats.org/officeDocument/2006/relationships/tags" Target="../tags/tag8.xml"/><Relationship Id="rId4" Type="http://schemas.openxmlformats.org/officeDocument/2006/relationships/tags" Target="../tags/tag9.xml"/><Relationship Id="rId5" Type="http://schemas.openxmlformats.org/officeDocument/2006/relationships/tags" Target="../tags/tag10.xml"/><Relationship Id="rId6" Type="http://schemas.openxmlformats.org/officeDocument/2006/relationships/slideLayout" Target="../slideLayouts/slideLayout4.xml"/><Relationship Id="rId7" Type="http://schemas.openxmlformats.org/officeDocument/2006/relationships/diagramData" Target="../diagrams/data4.xml"/><Relationship Id="rId8" Type="http://schemas.openxmlformats.org/officeDocument/2006/relationships/diagramLayout" Target="../diagrams/layout4.xml"/><Relationship Id="rId9" Type="http://schemas.openxmlformats.org/officeDocument/2006/relationships/diagramQuickStyle" Target="../diagrams/quickStyle4.xml"/><Relationship Id="rId10" Type="http://schemas.openxmlformats.org/officeDocument/2006/relationships/diagramColors" Target="../diagrams/colors4.xml"/><Relationship Id="rId11" Type="http://schemas.microsoft.com/office/2007/relationships/diagramDrawing" Target="../diagrams/drawing4.xml"/><Relationship Id="rId1" Type="http://schemas.openxmlformats.org/officeDocument/2006/relationships/tags" Target="../tags/tag6.xml"/><Relationship Id="rId2" Type="http://schemas.openxmlformats.org/officeDocument/2006/relationships/tags" Target="../tags/tag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57400" y="4191000"/>
            <a:ext cx="21010016" cy="3839984"/>
          </a:xfrm>
        </p:spPr>
        <p:txBody>
          <a:bodyPr/>
          <a:lstStyle/>
          <a:p>
            <a:r>
              <a:rPr lang="en-US" dirty="0" smtClean="0">
                <a:latin typeface="Proxima Nova"/>
              </a:rPr>
              <a:t>Goal tree </a:t>
            </a:r>
            <a:br>
              <a:rPr lang="en-US" dirty="0" smtClean="0">
                <a:latin typeface="Proxima Nova"/>
              </a:rPr>
            </a:br>
            <a:r>
              <a:rPr lang="en-US" sz="4400" dirty="0" smtClean="0">
                <a:solidFill>
                  <a:srgbClr val="88C2DE"/>
                </a:solidFill>
                <a:latin typeface="Proxima Nova"/>
              </a:rPr>
              <a:t>B2B and LEAD GENERATION</a:t>
            </a:r>
            <a:endParaRPr lang="en-US" sz="4400" dirty="0">
              <a:solidFill>
                <a:srgbClr val="88C2DE"/>
              </a:solidFill>
              <a:latin typeface="Proxima Nova"/>
            </a:endParaRPr>
          </a:p>
        </p:txBody>
      </p:sp>
      <p:sp>
        <p:nvSpPr>
          <p:cNvPr id="3" name="Subtitle 2"/>
          <p:cNvSpPr>
            <a:spLocks noGrp="1"/>
          </p:cNvSpPr>
          <p:nvPr>
            <p:ph type="subTitle" idx="1"/>
          </p:nvPr>
        </p:nvSpPr>
        <p:spPr>
          <a:xfrm>
            <a:off x="10210800" y="7620000"/>
            <a:ext cx="12882624" cy="3810000"/>
          </a:xfrm>
        </p:spPr>
        <p:txBody>
          <a:bodyPr/>
          <a:lstStyle/>
          <a:p>
            <a:r>
              <a:rPr lang="en-US" sz="2900" b="0" dirty="0">
                <a:solidFill>
                  <a:schemeClr val="tx1">
                    <a:lumMod val="10000"/>
                    <a:lumOff val="90000"/>
                  </a:schemeClr>
                </a:solidFill>
                <a:latin typeface="Proxima Nova"/>
              </a:rPr>
              <a:t>When you build an </a:t>
            </a:r>
            <a:r>
              <a:rPr lang="en-US" sz="2900" b="0" dirty="0">
                <a:solidFill>
                  <a:schemeClr val="tx1">
                    <a:lumMod val="10000"/>
                    <a:lumOff val="90000"/>
                  </a:schemeClr>
                </a:solidFill>
                <a:latin typeface="Proxima Nova"/>
                <a:hlinkClick r:id="rId2"/>
              </a:rPr>
              <a:t>optimization strategy</a:t>
            </a:r>
            <a:r>
              <a:rPr lang="en-US" sz="2900" b="0" dirty="0">
                <a:solidFill>
                  <a:schemeClr val="tx1">
                    <a:lumMod val="10000"/>
                    <a:lumOff val="90000"/>
                  </a:schemeClr>
                </a:solidFill>
                <a:latin typeface="Proxima Nova"/>
              </a:rPr>
              <a:t>, you’ll first align your program’s testing efforts to your company goals. We recommend that you start by focusing your program on achieving quick wins with impactful tests that affect the bottom line.</a:t>
            </a:r>
          </a:p>
          <a:p>
            <a:endParaRPr lang="en-US" sz="2900" b="0" dirty="0">
              <a:solidFill>
                <a:schemeClr val="tx1">
                  <a:lumMod val="10000"/>
                  <a:lumOff val="90000"/>
                </a:schemeClr>
              </a:solidFill>
              <a:latin typeface="Proxima Nova"/>
            </a:endParaRPr>
          </a:p>
          <a:p>
            <a:r>
              <a:rPr lang="en-US" sz="2900" b="0" dirty="0">
                <a:solidFill>
                  <a:schemeClr val="tx1">
                    <a:lumMod val="10000"/>
                    <a:lumOff val="90000"/>
                  </a:schemeClr>
                </a:solidFill>
                <a:latin typeface="Proxima Nova"/>
              </a:rPr>
              <a:t>A goal tree is a map of metrics that are critical to your company’s success. Break each of these metrics down into focused objectives that your program can move the needle on, through testing and personalization. Read this article to </a:t>
            </a:r>
            <a:r>
              <a:rPr lang="en-US" sz="2900" b="0" dirty="0">
                <a:solidFill>
                  <a:schemeClr val="tx1">
                    <a:lumMod val="10000"/>
                    <a:lumOff val="90000"/>
                  </a:schemeClr>
                </a:solidFill>
                <a:latin typeface="Proxima Nova"/>
                <a:hlinkClick r:id="rId3"/>
              </a:rPr>
              <a:t>learn more about goal trees</a:t>
            </a:r>
            <a:r>
              <a:rPr lang="en-US" sz="2900" b="0" dirty="0">
                <a:solidFill>
                  <a:schemeClr val="tx1">
                    <a:lumMod val="10000"/>
                    <a:lumOff val="90000"/>
                  </a:schemeClr>
                </a:solidFill>
                <a:latin typeface="Proxima Nova"/>
              </a:rPr>
              <a:t>.</a:t>
            </a:r>
          </a:p>
        </p:txBody>
      </p:sp>
      <p:sp>
        <p:nvSpPr>
          <p:cNvPr id="4" name="Rectangle 3"/>
          <p:cNvSpPr/>
          <p:nvPr/>
        </p:nvSpPr>
        <p:spPr>
          <a:xfrm>
            <a:off x="12099667" y="6632297"/>
            <a:ext cx="184666" cy="451406"/>
          </a:xfrm>
          <a:prstGeom prst="rect">
            <a:avLst/>
          </a:prstGeom>
        </p:spPr>
        <p:txBody>
          <a:bodyPr wrap="none">
            <a:spAutoFit/>
          </a:bodyPr>
          <a:lstStyle/>
          <a:p>
            <a:r>
              <a:rPr lang="en-US" dirty="0"/>
              <a:t> </a:t>
            </a:r>
          </a:p>
        </p:txBody>
      </p:sp>
    </p:spTree>
    <p:extLst>
      <p:ext uri="{BB962C8B-B14F-4D97-AF65-F5344CB8AC3E}">
        <p14:creationId xmlns:p14="http://schemas.microsoft.com/office/powerpoint/2010/main" val="37019547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Shape 36"/>
          <p:cNvSpPr/>
          <p:nvPr/>
        </p:nvSpPr>
        <p:spPr>
          <a:xfrm>
            <a:off x="18288000" y="1905000"/>
            <a:ext cx="5181599" cy="1292662"/>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Your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company metric </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measures a high-level goal: an increase in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revenue</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for example.</a:t>
            </a:r>
            <a:endParaRPr sz="2800" kern="0" dirty="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endParaRPr>
          </a:p>
        </p:txBody>
      </p:sp>
      <p:grpSp>
        <p:nvGrpSpPr>
          <p:cNvPr id="3" name="Group 2"/>
          <p:cNvGrpSpPr/>
          <p:nvPr/>
        </p:nvGrpSpPr>
        <p:grpSpPr>
          <a:xfrm>
            <a:off x="5840447" y="1371600"/>
            <a:ext cx="17207665" cy="11591430"/>
            <a:chOff x="5266559" y="1447800"/>
            <a:chExt cx="17759862" cy="11963399"/>
          </a:xfrm>
        </p:grpSpPr>
        <p:sp>
          <p:nvSpPr>
            <p:cNvPr id="4" name="Freeform 3"/>
            <p:cNvSpPr/>
            <p:nvPr/>
          </p:nvSpPr>
          <p:spPr>
            <a:xfrm>
              <a:off x="5266559" y="1447800"/>
              <a:ext cx="12032955" cy="11963399"/>
            </a:xfrm>
            <a:custGeom>
              <a:avLst/>
              <a:gdLst>
                <a:gd name="connsiteX0" fmla="*/ 0 w 12877799"/>
                <a:gd name="connsiteY0" fmla="*/ 6438900 h 12877799"/>
                <a:gd name="connsiteX1" fmla="*/ 6438900 w 12877799"/>
                <a:gd name="connsiteY1" fmla="*/ 0 h 12877799"/>
                <a:gd name="connsiteX2" fmla="*/ 12877800 w 12877799"/>
                <a:gd name="connsiteY2" fmla="*/ 6438900 h 12877799"/>
                <a:gd name="connsiteX3" fmla="*/ 6438900 w 12877799"/>
                <a:gd name="connsiteY3" fmla="*/ 12877800 h 12877799"/>
                <a:gd name="connsiteX4" fmla="*/ 0 w 12877799"/>
                <a:gd name="connsiteY4" fmla="*/ 6438900 h 12877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77799" h="12877799">
                  <a:moveTo>
                    <a:pt x="0" y="6438900"/>
                  </a:moveTo>
                  <a:cubicBezTo>
                    <a:pt x="0" y="2882794"/>
                    <a:pt x="2882794" y="0"/>
                    <a:pt x="6438900" y="0"/>
                  </a:cubicBezTo>
                  <a:cubicBezTo>
                    <a:pt x="9995006" y="0"/>
                    <a:pt x="12877800" y="2882794"/>
                    <a:pt x="12877800" y="6438900"/>
                  </a:cubicBezTo>
                  <a:cubicBezTo>
                    <a:pt x="12877800" y="9995006"/>
                    <a:pt x="9995006" y="12877800"/>
                    <a:pt x="6438900" y="12877800"/>
                  </a:cubicBezTo>
                  <a:cubicBezTo>
                    <a:pt x="2882794" y="12877800"/>
                    <a:pt x="0" y="9995006"/>
                    <a:pt x="0" y="6438900"/>
                  </a:cubicBezTo>
                  <a:close/>
                </a:path>
              </a:pathLst>
            </a:custGeom>
            <a:solidFill>
              <a:schemeClr val="accent1">
                <a:lumMod val="50000"/>
              </a:schemeClr>
            </a:solidFill>
            <a:ln w="57150" cmpd="sng">
              <a:solidFill>
                <a:schemeClr val="bg1"/>
              </a:solidFill>
            </a:ln>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4880392" tIns="885697" rIns="4880391" bIns="10544048"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Company Metric</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nvGrpSpPr>
            <p:cNvPr id="8" name="Group 7"/>
            <p:cNvGrpSpPr/>
            <p:nvPr/>
          </p:nvGrpSpPr>
          <p:grpSpPr>
            <a:xfrm>
              <a:off x="6469855" y="3840478"/>
              <a:ext cx="16556566" cy="9570720"/>
              <a:chOff x="4725539" y="3108959"/>
              <a:chExt cx="17719012" cy="10302240"/>
            </a:xfrm>
          </p:grpSpPr>
          <p:sp>
            <p:nvSpPr>
              <p:cNvPr id="25" name="Shape 36"/>
              <p:cNvSpPr/>
              <p:nvPr/>
            </p:nvSpPr>
            <p:spPr>
              <a:xfrm>
                <a:off x="17186751" y="3242405"/>
                <a:ext cx="5257800" cy="2872231"/>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Each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business unit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takes a different approach to that metric. For example, the Marketing department might focus on increasing the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evenue per visitor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PV). </a:t>
                </a:r>
              </a:p>
            </p:txBody>
          </p:sp>
          <p:sp>
            <p:nvSpPr>
              <p:cNvPr id="5" name="Freeform 4"/>
              <p:cNvSpPr/>
              <p:nvPr/>
            </p:nvSpPr>
            <p:spPr>
              <a:xfrm>
                <a:off x="4725539" y="3108959"/>
                <a:ext cx="10302240" cy="10302240"/>
              </a:xfrm>
              <a:custGeom>
                <a:avLst/>
                <a:gdLst>
                  <a:gd name="connsiteX0" fmla="*/ 0 w 10302240"/>
                  <a:gd name="connsiteY0" fmla="*/ 5151120 h 10302240"/>
                  <a:gd name="connsiteX1" fmla="*/ 5151120 w 10302240"/>
                  <a:gd name="connsiteY1" fmla="*/ 0 h 10302240"/>
                  <a:gd name="connsiteX2" fmla="*/ 10302240 w 10302240"/>
                  <a:gd name="connsiteY2" fmla="*/ 5151120 h 10302240"/>
                  <a:gd name="connsiteX3" fmla="*/ 5151120 w 10302240"/>
                  <a:gd name="connsiteY3" fmla="*/ 10302240 h 10302240"/>
                  <a:gd name="connsiteX4" fmla="*/ 0 w 10302240"/>
                  <a:gd name="connsiteY4" fmla="*/ 5151120 h 10302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02240" h="10302240">
                    <a:moveTo>
                      <a:pt x="0" y="5151120"/>
                    </a:moveTo>
                    <a:cubicBezTo>
                      <a:pt x="0" y="2306235"/>
                      <a:pt x="2306235" y="0"/>
                      <a:pt x="5151120" y="0"/>
                    </a:cubicBezTo>
                    <a:cubicBezTo>
                      <a:pt x="7996005" y="0"/>
                      <a:pt x="10302240" y="2306235"/>
                      <a:pt x="10302240" y="5151120"/>
                    </a:cubicBezTo>
                    <a:cubicBezTo>
                      <a:pt x="10302240" y="7996005"/>
                      <a:pt x="7996005" y="10302240"/>
                      <a:pt x="5151120" y="10302240"/>
                    </a:cubicBezTo>
                    <a:cubicBezTo>
                      <a:pt x="2306235" y="10302240"/>
                      <a:pt x="0" y="7996005"/>
                      <a:pt x="0" y="5151120"/>
                    </a:cubicBezTo>
                    <a:close/>
                  </a:path>
                </a:pathLst>
              </a:custGeom>
              <a:solidFill>
                <a:schemeClr val="accent1">
                  <a:lumMod val="75000"/>
                </a:schemeClr>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3592612" tIns="859943" rIns="3592612" bIns="8071510"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Business Unit</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grpSp>
          <p:nvGrpSpPr>
            <p:cNvPr id="9" name="Group 8"/>
            <p:cNvGrpSpPr/>
            <p:nvPr/>
          </p:nvGrpSpPr>
          <p:grpSpPr>
            <a:xfrm>
              <a:off x="7673150" y="6233159"/>
              <a:ext cx="14760683" cy="7178040"/>
              <a:chOff x="6013319" y="5684519"/>
              <a:chExt cx="15797043" cy="7726680"/>
            </a:xfrm>
          </p:grpSpPr>
          <p:sp>
            <p:nvSpPr>
              <p:cNvPr id="26" name="Shape 36"/>
              <p:cNvSpPr/>
              <p:nvPr/>
            </p:nvSpPr>
            <p:spPr>
              <a:xfrm>
                <a:off x="18059400" y="8686800"/>
                <a:ext cx="3750962" cy="610424"/>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defRPr sz="1800"/>
                </a:pPr>
                <a:endParaRPr sz="3400" dirty="0">
                  <a:solidFill>
                    <a:schemeClr val="accent1"/>
                  </a:solidFill>
                  <a:effectLst>
                    <a:glow rad="152400">
                      <a:schemeClr val="bg1">
                        <a:alpha val="75000"/>
                      </a:schemeClr>
                    </a:glow>
                  </a:effectLst>
                  <a:latin typeface="Proxima Nova"/>
                  <a:ea typeface="Gill Sans Light"/>
                  <a:cs typeface="Proxima Nova"/>
                  <a:sym typeface="Gill Sans Light"/>
                </a:endParaRPr>
              </a:p>
            </p:txBody>
          </p:sp>
          <p:sp>
            <p:nvSpPr>
              <p:cNvPr id="6" name="Freeform 5"/>
              <p:cNvSpPr/>
              <p:nvPr/>
            </p:nvSpPr>
            <p:spPr>
              <a:xfrm>
                <a:off x="6013319" y="5684519"/>
                <a:ext cx="7726680" cy="7726680"/>
              </a:xfrm>
              <a:custGeom>
                <a:avLst/>
                <a:gdLst>
                  <a:gd name="connsiteX0" fmla="*/ 0 w 7726680"/>
                  <a:gd name="connsiteY0" fmla="*/ 3863340 h 7726680"/>
                  <a:gd name="connsiteX1" fmla="*/ 3863340 w 7726680"/>
                  <a:gd name="connsiteY1" fmla="*/ 0 h 7726680"/>
                  <a:gd name="connsiteX2" fmla="*/ 7726680 w 7726680"/>
                  <a:gd name="connsiteY2" fmla="*/ 3863340 h 7726680"/>
                  <a:gd name="connsiteX3" fmla="*/ 3863340 w 7726680"/>
                  <a:gd name="connsiteY3" fmla="*/ 7726680 h 7726680"/>
                  <a:gd name="connsiteX4" fmla="*/ 0 w 7726680"/>
                  <a:gd name="connsiteY4" fmla="*/ 3863340 h 77266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26680" h="7726680">
                    <a:moveTo>
                      <a:pt x="0" y="3863340"/>
                    </a:moveTo>
                    <a:cubicBezTo>
                      <a:pt x="0" y="1729676"/>
                      <a:pt x="1729676" y="0"/>
                      <a:pt x="3863340" y="0"/>
                    </a:cubicBezTo>
                    <a:cubicBezTo>
                      <a:pt x="5997004" y="0"/>
                      <a:pt x="7726680" y="1729676"/>
                      <a:pt x="7726680" y="3863340"/>
                    </a:cubicBezTo>
                    <a:cubicBezTo>
                      <a:pt x="7726680" y="5997004"/>
                      <a:pt x="5997004" y="7726680"/>
                      <a:pt x="3863340" y="7726680"/>
                    </a:cubicBezTo>
                    <a:cubicBezTo>
                      <a:pt x="1729676" y="7726680"/>
                      <a:pt x="0" y="5997004"/>
                      <a:pt x="0" y="3863340"/>
                    </a:cubicBezTo>
                    <a:close/>
                  </a:path>
                </a:pathLst>
              </a:custGeom>
              <a:solidFill>
                <a:schemeClr val="accent1"/>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2304832" tIns="821309" rIns="2304832" bIns="5650484"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Optimization Goals</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sp>
          <p:nvSpPr>
            <p:cNvPr id="7" name="Freeform 6"/>
            <p:cNvSpPr/>
            <p:nvPr/>
          </p:nvSpPr>
          <p:spPr>
            <a:xfrm>
              <a:off x="8876446" y="8625839"/>
              <a:ext cx="4813182" cy="4785360"/>
            </a:xfrm>
            <a:custGeom>
              <a:avLst/>
              <a:gdLst>
                <a:gd name="connsiteX0" fmla="*/ 0 w 5151120"/>
                <a:gd name="connsiteY0" fmla="*/ 2575560 h 5151120"/>
                <a:gd name="connsiteX1" fmla="*/ 2575560 w 5151120"/>
                <a:gd name="connsiteY1" fmla="*/ 0 h 5151120"/>
                <a:gd name="connsiteX2" fmla="*/ 5151120 w 5151120"/>
                <a:gd name="connsiteY2" fmla="*/ 2575560 h 5151120"/>
                <a:gd name="connsiteX3" fmla="*/ 2575560 w 5151120"/>
                <a:gd name="connsiteY3" fmla="*/ 5151120 h 5151120"/>
                <a:gd name="connsiteX4" fmla="*/ 0 w 5151120"/>
                <a:gd name="connsiteY4" fmla="*/ 2575560 h 515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51120" h="5151120">
                  <a:moveTo>
                    <a:pt x="0" y="2575560"/>
                  </a:moveTo>
                  <a:cubicBezTo>
                    <a:pt x="0" y="1153117"/>
                    <a:pt x="1153117" y="0"/>
                    <a:pt x="2575560" y="0"/>
                  </a:cubicBezTo>
                  <a:cubicBezTo>
                    <a:pt x="3998003" y="0"/>
                    <a:pt x="5151120" y="1153117"/>
                    <a:pt x="5151120" y="2575560"/>
                  </a:cubicBezTo>
                  <a:cubicBezTo>
                    <a:pt x="5151120" y="3998003"/>
                    <a:pt x="3998003" y="5151120"/>
                    <a:pt x="2575560" y="5151120"/>
                  </a:cubicBezTo>
                  <a:cubicBezTo>
                    <a:pt x="1153117" y="5151120"/>
                    <a:pt x="0" y="3998003"/>
                    <a:pt x="0" y="2575560"/>
                  </a:cubicBezTo>
                  <a:close/>
                </a:path>
              </a:pathLst>
            </a:custGeom>
            <a:solidFill>
              <a:schemeClr val="accent1">
                <a:lumMod val="60000"/>
                <a:lumOff val="40000"/>
              </a:schemeClr>
            </a:solidFill>
          </p:spPr>
          <p:style>
            <a:lnRef idx="3">
              <a:schemeClr val="lt1">
                <a:hueOff val="0"/>
                <a:satOff val="0"/>
                <a:lumOff val="0"/>
                <a:alphaOff val="0"/>
              </a:schemeClr>
            </a:lnRef>
            <a:fillRef idx="1">
              <a:scrgbClr r="0" g="0" b="0"/>
            </a:fillRef>
            <a:effectRef idx="1">
              <a:schemeClr val="accent1">
                <a:hueOff val="0"/>
                <a:satOff val="0"/>
                <a:lumOff val="0"/>
                <a:alphaOff val="0"/>
              </a:schemeClr>
            </a:effectRef>
            <a:fontRef idx="minor">
              <a:schemeClr val="lt1"/>
            </a:fontRef>
          </p:style>
          <p:txBody>
            <a:bodyPr spcFirstLastPara="0" vert="horz" wrap="square" lIns="996172" tIns="1529588" rIns="996173" bIns="1529588" numCol="1" spcCol="1270" anchor="ctr" anchorCtr="0">
              <a:noAutofit/>
            </a:bodyPr>
            <a:lstStyle/>
            <a:p>
              <a:pPr lvl="0" algn="ctr" defTabSz="1511300">
                <a:lnSpc>
                  <a:spcPct val="90000"/>
                </a:lnSpc>
                <a:spcBef>
                  <a:spcPct val="0"/>
                </a:spcBef>
                <a:spcAft>
                  <a:spcPct val="35000"/>
                </a:spcAft>
              </a:pPr>
              <a:r>
                <a:rPr lang="en-US" sz="3400" b="1" kern="1200" dirty="0" smtClean="0">
                  <a:effectLst>
                    <a:outerShdw blurRad="50800" dist="38100" dir="2700000" algn="tl" rotWithShape="0">
                      <a:srgbClr val="000000">
                        <a:alpha val="43000"/>
                      </a:srgbClr>
                    </a:outerShdw>
                  </a:effectLst>
                  <a:latin typeface="Proxima Nova"/>
                  <a:cs typeface="Proxima Nova"/>
                </a:rPr>
                <a:t>Experiment Goals</a:t>
              </a:r>
              <a:endParaRPr lang="en-US" sz="3400" b="1" kern="1200" dirty="0">
                <a:effectLst>
                  <a:outerShdw blurRad="50800" dist="38100" dir="2700000" algn="tl" rotWithShape="0">
                    <a:srgbClr val="000000">
                      <a:alpha val="43000"/>
                    </a:srgbClr>
                  </a:outerShdw>
                </a:effectLst>
                <a:latin typeface="Proxima Nova"/>
                <a:cs typeface="Proxima Nova"/>
              </a:endParaRPr>
            </a:p>
          </p:txBody>
        </p:sp>
      </p:grpSp>
      <p:sp>
        <p:nvSpPr>
          <p:cNvPr id="13" name="Title 1"/>
          <p:cNvSpPr>
            <a:spLocks noGrp="1"/>
          </p:cNvSpPr>
          <p:nvPr>
            <p:ph type="title"/>
          </p:nvPr>
        </p:nvSpPr>
        <p:spPr>
          <a:xfrm>
            <a:off x="609600" y="533400"/>
            <a:ext cx="5058833" cy="5715000"/>
          </a:xfrm>
        </p:spPr>
        <p:txBody>
          <a:bodyPr/>
          <a:lstStyle/>
          <a:p>
            <a:pPr algn="l"/>
            <a:r>
              <a:rPr lang="en-US" sz="2800" dirty="0" smtClean="0">
                <a:solidFill>
                  <a:schemeClr val="tx2">
                    <a:lumMod val="50000"/>
                  </a:schemeClr>
                </a:solidFill>
                <a:latin typeface="Proxima Nova"/>
                <a:cs typeface="Proxima Nova"/>
              </a:rPr>
              <a:t>Before </a:t>
            </a:r>
            <a:r>
              <a:rPr lang="en-US" sz="2800" dirty="0">
                <a:solidFill>
                  <a:schemeClr val="tx2">
                    <a:lumMod val="50000"/>
                  </a:schemeClr>
                </a:solidFill>
                <a:latin typeface="Proxima Nova"/>
                <a:cs typeface="Proxima Nova"/>
              </a:rPr>
              <a:t>you build a goal tree</a:t>
            </a:r>
            <a:r>
              <a:rPr lang="en-US" sz="2800" dirty="0" smtClean="0">
                <a:solidFill>
                  <a:schemeClr val="tx2">
                    <a:lumMod val="50000"/>
                  </a:schemeClr>
                </a:solidFill>
                <a:latin typeface="Proxima Nova"/>
                <a:cs typeface="Proxima Nova"/>
              </a:rPr>
              <a:t>, let’s </a:t>
            </a:r>
            <a:r>
              <a:rPr lang="en-US" sz="2800" dirty="0">
                <a:solidFill>
                  <a:schemeClr val="tx2">
                    <a:lumMod val="50000"/>
                  </a:schemeClr>
                </a:solidFill>
                <a:latin typeface="Proxima Nova"/>
                <a:cs typeface="Proxima Nova"/>
              </a:rPr>
              <a:t>take a look at the </a:t>
            </a:r>
            <a:r>
              <a:rPr lang="en-US" sz="2800" dirty="0" smtClean="0">
                <a:solidFill>
                  <a:schemeClr val="tx2">
                    <a:lumMod val="50000"/>
                  </a:schemeClr>
                </a:solidFill>
                <a:latin typeface="Proxima Nova"/>
                <a:cs typeface="Proxima Nova"/>
              </a:rPr>
              <a:t>structure behind it. </a:t>
            </a:r>
            <a:br>
              <a:rPr lang="en-US" sz="2800" dirty="0" smtClean="0">
                <a:solidFill>
                  <a:schemeClr val="tx2">
                    <a:lumMod val="50000"/>
                  </a:schemeClr>
                </a:solidFill>
                <a:latin typeface="Proxima Nova"/>
                <a:cs typeface="Proxima Nova"/>
              </a:rPr>
            </a:br>
            <a:r>
              <a:rPr lang="en-US" sz="2800" dirty="0">
                <a:solidFill>
                  <a:schemeClr val="tx2">
                    <a:lumMod val="50000"/>
                  </a:schemeClr>
                </a:solidFill>
                <a:latin typeface="Proxima Nova"/>
                <a:cs typeface="Proxima Nova"/>
              </a:rPr>
              <a:t/>
            </a:r>
            <a:br>
              <a:rPr lang="en-US" sz="2800" dirty="0">
                <a:solidFill>
                  <a:schemeClr val="tx2">
                    <a:lumMod val="50000"/>
                  </a:schemeClr>
                </a:solidFill>
                <a:latin typeface="Proxima Nova"/>
                <a:cs typeface="Proxima Nova"/>
              </a:rPr>
            </a:br>
            <a:r>
              <a:rPr lang="en-US" sz="2800" b="1" dirty="0" smtClean="0">
                <a:solidFill>
                  <a:schemeClr val="tx2">
                    <a:lumMod val="50000"/>
                  </a:schemeClr>
                </a:solidFill>
                <a:latin typeface="Proxima Nova"/>
                <a:cs typeface="Proxima Nova"/>
              </a:rPr>
              <a:t>Goal trees </a:t>
            </a:r>
            <a:r>
              <a:rPr lang="en-US" sz="2800" dirty="0" smtClean="0">
                <a:solidFill>
                  <a:schemeClr val="tx2">
                    <a:lumMod val="50000"/>
                  </a:schemeClr>
                </a:solidFill>
                <a:latin typeface="Proxima Nova"/>
                <a:cs typeface="Proxima Nova"/>
              </a:rPr>
              <a:t>help you define the strategic KPIs that your program will optimize through testing and personalization.</a:t>
            </a:r>
            <a:br>
              <a:rPr lang="en-US" sz="2800" dirty="0" smtClean="0">
                <a:solidFill>
                  <a:schemeClr val="tx2">
                    <a:lumMod val="50000"/>
                  </a:schemeClr>
                </a:solidFill>
                <a:latin typeface="Proxima Nova"/>
                <a:cs typeface="Proxima Nova"/>
              </a:rPr>
            </a:br>
            <a:r>
              <a:rPr lang="en-US" sz="2800" dirty="0">
                <a:solidFill>
                  <a:schemeClr val="tx2">
                    <a:lumMod val="50000"/>
                  </a:schemeClr>
                </a:solidFill>
                <a:latin typeface="Proxima Nova"/>
                <a:cs typeface="Proxima Nova"/>
              </a:rPr>
              <a:t/>
            </a:r>
            <a:br>
              <a:rPr lang="en-US" sz="2800" dirty="0">
                <a:solidFill>
                  <a:schemeClr val="tx2">
                    <a:lumMod val="50000"/>
                  </a:schemeClr>
                </a:solidFill>
                <a:latin typeface="Proxima Nova"/>
                <a:cs typeface="Proxima Nova"/>
              </a:rPr>
            </a:br>
            <a:r>
              <a:rPr lang="en-US" sz="2800" dirty="0" smtClean="0">
                <a:solidFill>
                  <a:schemeClr val="tx2">
                    <a:lumMod val="50000"/>
                  </a:schemeClr>
                </a:solidFill>
                <a:latin typeface="Proxima Nova"/>
                <a:cs typeface="Proxima Nova"/>
              </a:rPr>
              <a:t>Notice how the company-level metric cascades directly into experiment-level goals.</a:t>
            </a:r>
            <a:endParaRPr lang="en-US" sz="2800" dirty="0">
              <a:solidFill>
                <a:schemeClr val="tx2">
                  <a:lumMod val="50000"/>
                </a:schemeClr>
              </a:solidFill>
              <a:latin typeface="Proxima Nova"/>
              <a:cs typeface="Proxima Nova"/>
            </a:endParaRPr>
          </a:p>
        </p:txBody>
      </p:sp>
      <p:sp>
        <p:nvSpPr>
          <p:cNvPr id="14" name="Shape 36"/>
          <p:cNvSpPr/>
          <p:nvPr/>
        </p:nvSpPr>
        <p:spPr>
          <a:xfrm>
            <a:off x="18288000" y="6934200"/>
            <a:ext cx="5334000" cy="1723549"/>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The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optimization program</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breaks down a major KPI such as RPV into more focused targets, such as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average order value</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AOV).</a:t>
            </a:r>
          </a:p>
        </p:txBody>
      </p:sp>
      <p:sp>
        <p:nvSpPr>
          <p:cNvPr id="15" name="Shape 36"/>
          <p:cNvSpPr/>
          <p:nvPr/>
        </p:nvSpPr>
        <p:spPr>
          <a:xfrm>
            <a:off x="18288000" y="9220200"/>
            <a:ext cx="5638800" cy="2154436"/>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lnSpc>
                <a:spcPct val="100000"/>
              </a:lnSpc>
              <a:defRPr sz="1800"/>
            </a:pP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Individual experiments test ways to create lift in the metrics that matter to the program. One might improve the AOV by optimizing the </a:t>
            </a:r>
            <a:r>
              <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average order quantity</a:t>
            </a:r>
            <a:r>
              <a:rPr lang="en-US" sz="2800"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rPr>
              <a:t>, for example.</a:t>
            </a:r>
            <a:endParaRPr lang="en-US" sz="2800" b="1" kern="0" dirty="0" smtClean="0">
              <a:solidFill>
                <a:schemeClr val="tx1">
                  <a:lumMod val="90000"/>
                  <a:lumOff val="10000"/>
                </a:schemeClr>
              </a:solidFill>
              <a:effectLst>
                <a:glow rad="152400">
                  <a:schemeClr val="bg1">
                    <a:alpha val="75000"/>
                  </a:schemeClr>
                </a:glow>
              </a:effectLst>
              <a:latin typeface="Proxima Nova"/>
              <a:ea typeface="Gill Sans Light"/>
              <a:cs typeface="Proxima Nova"/>
              <a:sym typeface="Gill Sans Light"/>
            </a:endParaRPr>
          </a:p>
        </p:txBody>
      </p:sp>
    </p:spTree>
    <p:extLst>
      <p:ext uri="{BB962C8B-B14F-4D97-AF65-F5344CB8AC3E}">
        <p14:creationId xmlns:p14="http://schemas.microsoft.com/office/powerpoint/2010/main" val="1087680548"/>
      </p:ext>
    </p:extLst>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0" y="1764"/>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graphicFrame>
        <p:nvGraphicFramePr>
          <p:cNvPr id="5" name="Diagram 4"/>
          <p:cNvGraphicFramePr/>
          <p:nvPr>
            <p:extLst>
              <p:ext uri="{D42A27DB-BD31-4B8C-83A1-F6EECF244321}">
                <p14:modId xmlns:p14="http://schemas.microsoft.com/office/powerpoint/2010/main" val="2487930417"/>
              </p:ext>
            </p:extLst>
          </p:nvPr>
        </p:nvGraphicFramePr>
        <p:xfrm>
          <a:off x="3352800" y="1828800"/>
          <a:ext cx="19735799" cy="11506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itle 1"/>
          <p:cNvSpPr>
            <a:spLocks noGrp="1"/>
          </p:cNvSpPr>
          <p:nvPr>
            <p:ph type="title"/>
          </p:nvPr>
        </p:nvSpPr>
        <p:spPr>
          <a:xfrm>
            <a:off x="381000" y="228600"/>
            <a:ext cx="22313900" cy="1676400"/>
          </a:xfrm>
        </p:spPr>
        <p:txBody>
          <a:bodyPr/>
          <a:lstStyle/>
          <a:p>
            <a:pPr algn="l"/>
            <a:r>
              <a:rPr lang="en-US" sz="4000" b="1" dirty="0" smtClean="0">
                <a:latin typeface="Proxima Nova"/>
                <a:cs typeface="Proxima Nova"/>
              </a:rPr>
              <a:t>EXAMPLE</a:t>
            </a:r>
            <a:endParaRPr lang="en-US" sz="4000" b="1" dirty="0">
              <a:latin typeface="Proxima Nova"/>
              <a:cs typeface="Proxima Nova"/>
            </a:endParaRPr>
          </a:p>
        </p:txBody>
      </p:sp>
      <p:sp>
        <p:nvSpPr>
          <p:cNvPr id="6" name="Shape 36"/>
          <p:cNvSpPr/>
          <p:nvPr/>
        </p:nvSpPr>
        <p:spPr>
          <a:xfrm>
            <a:off x="457200" y="957359"/>
            <a:ext cx="6629400" cy="6707478"/>
          </a:xfrm>
          <a:prstGeom prst="rect">
            <a:avLst/>
          </a:prstGeom>
          <a:ln w="12700">
            <a:miter lim="400000"/>
          </a:ln>
          <a:extLst>
            <a:ext uri="{C572A759-6A51-4108-AA02-DFA0A04FC94B}">
              <ma14:wrappingTextBoxFlag xmlns:ma14="http://schemas.microsoft.com/office/mac/drawingml/2011/main" val="1"/>
            </a:ext>
          </a:extLst>
        </p:spPr>
        <p:txBody>
          <a:bodyPr wrap="square" lIns="0" tIns="0" rIns="0" bIns="0">
            <a:spAutoFit/>
          </a:bodyPr>
          <a:lstStyle/>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Goal trees break metrics down mathematically. </a:t>
            </a:r>
          </a:p>
          <a:p>
            <a:pPr lvl="0" algn="l">
              <a:defRPr sz="1800"/>
            </a:pPr>
            <a:endParaRPr lang="en-US" sz="2800" kern="0" dirty="0">
              <a:solidFill>
                <a:schemeClr val="tx2">
                  <a:lumMod val="50000"/>
                </a:schemeClr>
              </a:solidFill>
              <a:effectLst>
                <a:glow rad="152400">
                  <a:schemeClr val="bg1">
                    <a:alpha val="75000"/>
                  </a:schemeClr>
                </a:glow>
              </a:effectLst>
              <a:latin typeface="Proxima Nova"/>
              <a:ea typeface="Gill Sans Light"/>
              <a:cs typeface="Proxima Nova"/>
              <a:sym typeface="Gill Sans Light"/>
            </a:endParaRPr>
          </a:p>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Take a look at a category: Revenue per Visitor, for example. This is the root for two branches: Average Order Value and Conversion Rate. Notice how the branches multiply to equal the root.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Average order Value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x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Conversion Rate </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 </a:t>
            </a:r>
            <a:r>
              <a:rPr lang="en-US" sz="2800" b="1"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Revenue per Visitor</a:t>
            </a: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a:t>
            </a:r>
          </a:p>
          <a:p>
            <a:pPr lvl="0" algn="l">
              <a:defRPr sz="1800"/>
            </a:pPr>
            <a:endParaRPr lang="en-US" sz="2800" kern="0" dirty="0">
              <a:solidFill>
                <a:schemeClr val="tx2">
                  <a:lumMod val="50000"/>
                </a:schemeClr>
              </a:solidFill>
              <a:effectLst>
                <a:glow rad="152400">
                  <a:schemeClr val="bg1">
                    <a:alpha val="75000"/>
                  </a:schemeClr>
                </a:glow>
              </a:effectLst>
              <a:latin typeface="Proxima Nova"/>
              <a:ea typeface="Gill Sans Light"/>
              <a:cs typeface="Proxima Nova"/>
              <a:sym typeface="Gill Sans Light"/>
            </a:endParaRPr>
          </a:p>
          <a:p>
            <a:pPr lvl="0" algn="l">
              <a:defRPr sz="1800"/>
            </a:pPr>
            <a:r>
              <a:rPr lang="en-US" sz="2800" kern="0" dirty="0" smtClean="0">
                <a:solidFill>
                  <a:schemeClr val="tx2">
                    <a:lumMod val="50000"/>
                  </a:schemeClr>
                </a:solidFill>
                <a:effectLst>
                  <a:glow rad="152400">
                    <a:schemeClr val="bg1">
                      <a:alpha val="75000"/>
                    </a:schemeClr>
                  </a:glow>
                </a:effectLst>
                <a:latin typeface="Proxima Nova"/>
                <a:ea typeface="Gill Sans Light"/>
                <a:cs typeface="Proxima Nova"/>
                <a:sym typeface="Gill Sans Light"/>
              </a:rPr>
              <a:t>Use this method to create your own goal tree. </a:t>
            </a:r>
          </a:p>
        </p:txBody>
      </p:sp>
    </p:spTree>
    <p:extLst>
      <p:ext uri="{BB962C8B-B14F-4D97-AF65-F5344CB8AC3E}">
        <p14:creationId xmlns:p14="http://schemas.microsoft.com/office/powerpoint/2010/main" val="25249163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hape 63"/>
          <p:cNvSpPr/>
          <p:nvPr/>
        </p:nvSpPr>
        <p:spPr>
          <a:xfrm>
            <a:off x="1059378" y="6020662"/>
            <a:ext cx="22265246" cy="1210588"/>
          </a:xfrm>
          <a:prstGeom prst="rect">
            <a:avLst/>
          </a:prstGeom>
          <a:ln w="12700">
            <a:miter lim="400000"/>
          </a:ln>
          <a:extLst>
            <a:ext uri="{C572A759-6A51-4108-AA02-DFA0A04FC94B}">
              <ma14:wrappingTextBoxFlag xmlns:ma14="http://schemas.microsoft.com/office/mac/drawingml/2011/main" val="1"/>
            </a:ext>
          </a:extLst>
        </p:spPr>
        <p:txBody>
          <a:bodyPr wrap="square" lIns="50800" tIns="50800" rIns="50800" bIns="50800" anchor="ctr">
            <a:spAutoFit/>
          </a:bodyPr>
          <a:lstStyle>
            <a:lvl1pPr>
              <a:lnSpc>
                <a:spcPct val="100000"/>
              </a:lnSpc>
              <a:defRPr sz="12000" spc="-239">
                <a:solidFill>
                  <a:srgbClr val="FFFFFF"/>
                </a:solidFill>
                <a:latin typeface="+mj-lt"/>
                <a:ea typeface="+mj-ea"/>
                <a:cs typeface="+mj-cs"/>
                <a:sym typeface="Verdana Bold"/>
              </a:defRPr>
            </a:lvl1pPr>
          </a:lstStyle>
          <a:p>
            <a:pPr lvl="0" algn="l">
              <a:defRPr sz="1800" spc="0">
                <a:solidFill>
                  <a:srgbClr val="000000"/>
                </a:solidFill>
              </a:defRPr>
            </a:pPr>
            <a:r>
              <a:rPr lang="en-US" sz="7200" b="1" spc="-239" dirty="0" smtClean="0">
                <a:solidFill>
                  <a:srgbClr val="FFFFFF"/>
                </a:solidFill>
                <a:effectLst/>
                <a:latin typeface="Proxima Nova"/>
                <a:cs typeface="Proxima Nova"/>
              </a:rPr>
              <a:t>Build your own tree</a:t>
            </a:r>
            <a:endParaRPr sz="7200" b="1" spc="-239" dirty="0">
              <a:solidFill>
                <a:srgbClr val="FFFFFF"/>
              </a:solidFill>
              <a:effectLst/>
              <a:latin typeface="Proxima Nova"/>
              <a:cs typeface="Proxima Nova"/>
            </a:endParaRPr>
          </a:p>
        </p:txBody>
      </p:sp>
      <p:sp>
        <p:nvSpPr>
          <p:cNvPr id="2" name="Rectangle 1"/>
          <p:cNvSpPr/>
          <p:nvPr/>
        </p:nvSpPr>
        <p:spPr>
          <a:xfrm>
            <a:off x="12099667" y="6632297"/>
            <a:ext cx="184666" cy="451406"/>
          </a:xfrm>
          <a:prstGeom prst="rect">
            <a:avLst/>
          </a:prstGeom>
        </p:spPr>
        <p:txBody>
          <a:bodyPr wrap="none">
            <a:spAutoFit/>
          </a:bodyPr>
          <a:lstStyle/>
          <a:p>
            <a:r>
              <a:rPr lang="en-US" dirty="0"/>
              <a:t> </a:t>
            </a:r>
          </a:p>
        </p:txBody>
      </p:sp>
      <p:sp>
        <p:nvSpPr>
          <p:cNvPr id="3" name="Rectangle 2"/>
          <p:cNvSpPr/>
          <p:nvPr/>
        </p:nvSpPr>
        <p:spPr>
          <a:xfrm>
            <a:off x="12099667" y="6632297"/>
            <a:ext cx="184666" cy="451406"/>
          </a:xfrm>
          <a:prstGeom prst="rect">
            <a:avLst/>
          </a:prstGeom>
        </p:spPr>
        <p:txBody>
          <a:bodyPr wrap="none">
            <a:spAutoFit/>
          </a:bodyPr>
          <a:lstStyle/>
          <a:p>
            <a:r>
              <a:rPr lang="en-US" dirty="0"/>
              <a:t> </a:t>
            </a:r>
          </a:p>
        </p:txBody>
      </p:sp>
      <p:sp>
        <p:nvSpPr>
          <p:cNvPr id="4" name="Rectangle 3"/>
          <p:cNvSpPr/>
          <p:nvPr/>
        </p:nvSpPr>
        <p:spPr>
          <a:xfrm>
            <a:off x="990600" y="7162800"/>
            <a:ext cx="12573000" cy="5394297"/>
          </a:xfrm>
          <a:prstGeom prst="rect">
            <a:avLst/>
          </a:prstGeom>
        </p:spPr>
        <p:txBody>
          <a:bodyPr wrap="square">
            <a:spAutoFit/>
          </a:bodyPr>
          <a:lstStyle/>
          <a:p>
            <a:pPr algn="l">
              <a:spcBef>
                <a:spcPts val="0"/>
              </a:spcBef>
            </a:pPr>
            <a:r>
              <a:rPr lang="en-US" sz="3200" dirty="0">
                <a:solidFill>
                  <a:srgbClr val="E8E8E8"/>
                </a:solidFill>
                <a:latin typeface="Proxima Nova"/>
                <a:cs typeface="Proxima Nova"/>
              </a:rPr>
              <a:t>Identify the goal tree that aligns best with your own. Modify it to align it to your own company and program goals.</a:t>
            </a:r>
          </a:p>
          <a:p>
            <a:pPr algn="l">
              <a:spcBef>
                <a:spcPts val="0"/>
              </a:spcBef>
            </a:pPr>
            <a:endParaRPr lang="en-US" sz="3200" dirty="0">
              <a:solidFill>
                <a:srgbClr val="E8E8E8"/>
              </a:solidFill>
              <a:latin typeface="Proxima Nova"/>
              <a:cs typeface="Proxima Nova"/>
            </a:endParaRPr>
          </a:p>
          <a:p>
            <a:pPr marL="457200" indent="-457200" algn="l">
              <a:spcBef>
                <a:spcPts val="0"/>
              </a:spcBef>
              <a:buFont typeface="Arial"/>
              <a:buChar char="•"/>
            </a:pPr>
            <a:r>
              <a:rPr lang="en-US" sz="3200" dirty="0">
                <a:solidFill>
                  <a:srgbClr val="E8E8E8"/>
                </a:solidFill>
                <a:latin typeface="Proxima Nova"/>
                <a:cs typeface="Proxima Nova"/>
              </a:rPr>
              <a:t>Begin at the top of the </a:t>
            </a:r>
            <a:r>
              <a:rPr lang="en-US" sz="3200" dirty="0" smtClean="0">
                <a:solidFill>
                  <a:srgbClr val="E8E8E8"/>
                </a:solidFill>
                <a:latin typeface="Proxima Nova"/>
                <a:cs typeface="Proxima Nova"/>
              </a:rPr>
              <a:t>tree</a:t>
            </a:r>
            <a:endParaRPr lang="en-US" sz="3200" dirty="0">
              <a:solidFill>
                <a:srgbClr val="E8E8E8"/>
              </a:solidFill>
              <a:latin typeface="Proxima Nova"/>
              <a:cs typeface="Proxima Nova"/>
            </a:endParaRPr>
          </a:p>
          <a:p>
            <a:pPr marL="457200" indent="-457200" algn="l">
              <a:spcBef>
                <a:spcPts val="0"/>
              </a:spcBef>
              <a:buFont typeface="Arial"/>
              <a:buChar char="•"/>
            </a:pPr>
            <a:r>
              <a:rPr lang="en-US" sz="3200" dirty="0">
                <a:solidFill>
                  <a:srgbClr val="E8E8E8"/>
                </a:solidFill>
                <a:latin typeface="Proxima Nova"/>
                <a:cs typeface="Proxima Nova"/>
              </a:rPr>
              <a:t>What does </a:t>
            </a:r>
            <a:r>
              <a:rPr lang="en-US" sz="3200" dirty="0" smtClean="0">
                <a:solidFill>
                  <a:srgbClr val="E8E8E8"/>
                </a:solidFill>
                <a:latin typeface="Proxima Nova"/>
                <a:cs typeface="Proxima Nova"/>
              </a:rPr>
              <a:t>your company </a:t>
            </a:r>
            <a:r>
              <a:rPr lang="en-US" sz="3200" dirty="0">
                <a:solidFill>
                  <a:srgbClr val="E8E8E8"/>
                </a:solidFill>
                <a:latin typeface="Proxima Nova"/>
                <a:cs typeface="Proxima Nova"/>
              </a:rPr>
              <a:t>do to generate revenue?</a:t>
            </a:r>
          </a:p>
          <a:p>
            <a:pPr marL="457200" indent="-457200" algn="l">
              <a:spcBef>
                <a:spcPts val="0"/>
              </a:spcBef>
              <a:buFont typeface="Arial"/>
              <a:buChar char="•"/>
            </a:pPr>
            <a:r>
              <a:rPr lang="en-US" sz="3200" dirty="0" smtClean="0">
                <a:solidFill>
                  <a:srgbClr val="E8E8E8"/>
                </a:solidFill>
                <a:latin typeface="Proxima Nova"/>
                <a:cs typeface="Proxima Nova"/>
              </a:rPr>
              <a:t>How </a:t>
            </a:r>
            <a:r>
              <a:rPr lang="en-US" sz="3200" dirty="0">
                <a:solidFill>
                  <a:srgbClr val="E8E8E8"/>
                </a:solidFill>
                <a:latin typeface="Proxima Nova"/>
                <a:cs typeface="Proxima Nova"/>
              </a:rPr>
              <a:t>does each metric break down into a smaller set of metrics? </a:t>
            </a:r>
          </a:p>
          <a:p>
            <a:pPr algn="l">
              <a:spcBef>
                <a:spcPts val="0"/>
              </a:spcBef>
            </a:pPr>
            <a:endParaRPr lang="en-US" sz="3200" dirty="0">
              <a:solidFill>
                <a:srgbClr val="E8E8E8"/>
              </a:solidFill>
              <a:latin typeface="Proxima Nova"/>
              <a:cs typeface="Proxima Nova"/>
            </a:endParaRPr>
          </a:p>
          <a:p>
            <a:pPr algn="l">
              <a:spcBef>
                <a:spcPts val="0"/>
              </a:spcBef>
            </a:pPr>
            <a:r>
              <a:rPr lang="en-US" sz="3200" dirty="0" smtClean="0">
                <a:solidFill>
                  <a:srgbClr val="E8E8E8"/>
                </a:solidFill>
                <a:latin typeface="Proxima Nova"/>
                <a:cs typeface="Proxima Nova"/>
              </a:rPr>
              <a:t>Remember! </a:t>
            </a:r>
            <a:r>
              <a:rPr lang="en-US" sz="3200" dirty="0">
                <a:solidFill>
                  <a:srgbClr val="E8E8E8"/>
                </a:solidFill>
                <a:latin typeface="Proxima Nova"/>
                <a:cs typeface="Proxima Nova"/>
              </a:rPr>
              <a:t>E</a:t>
            </a:r>
            <a:r>
              <a:rPr lang="en-US" sz="3200" dirty="0" smtClean="0">
                <a:solidFill>
                  <a:srgbClr val="E8E8E8"/>
                </a:solidFill>
                <a:latin typeface="Proxima Nova"/>
                <a:cs typeface="Proxima Nova"/>
              </a:rPr>
              <a:t>ach </a:t>
            </a:r>
            <a:r>
              <a:rPr lang="en-US" sz="3200" dirty="0">
                <a:solidFill>
                  <a:srgbClr val="E8E8E8"/>
                </a:solidFill>
                <a:latin typeface="Proxima Nova"/>
                <a:cs typeface="Proxima Nova"/>
              </a:rPr>
              <a:t>set of branches should equal the value of the root it springs from. </a:t>
            </a:r>
          </a:p>
        </p:txBody>
      </p:sp>
    </p:spTree>
    <p:extLst>
      <p:ext uri="{BB962C8B-B14F-4D97-AF65-F5344CB8AC3E}">
        <p14:creationId xmlns:p14="http://schemas.microsoft.com/office/powerpoint/2010/main" val="225213935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5118" y="0"/>
            <a:ext cx="24384000" cy="13716000"/>
          </a:xfrm>
          <a:prstGeom prst="rect">
            <a:avLst/>
          </a:prstGeom>
          <a:solidFill>
            <a:schemeClr val="bg1"/>
          </a:solid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none" lIns="101615" tIns="101615" rIns="101615" bIns="101615" numCol="1" spcCol="76211" rtlCol="0" anchor="ctr">
            <a:noAutofit/>
          </a:bodyPr>
          <a:lstStyle/>
          <a:p>
            <a:pPr defTabSz="1168575" fontAlgn="auto" latinLnBrk="1">
              <a:lnSpc>
                <a:spcPct val="100000"/>
              </a:lnSpc>
              <a:spcBef>
                <a:spcPts val="0"/>
              </a:spcBef>
              <a:spcAft>
                <a:spcPts val="0"/>
              </a:spcAft>
            </a:pPr>
            <a:endParaRPr lang="en-US" sz="8000">
              <a:solidFill>
                <a:srgbClr val="FFFFFF"/>
              </a:solidFill>
              <a:effectLst>
                <a:outerShdw blurRad="38100" dist="12700" dir="5400000" rotWithShape="0">
                  <a:srgbClr val="000000">
                    <a:alpha val="50000"/>
                  </a:srgbClr>
                </a:outerShdw>
              </a:effectLst>
              <a:latin typeface="+mn-lt"/>
              <a:ea typeface="+mn-ea"/>
              <a:cs typeface="+mn-cs"/>
              <a:sym typeface="Gill Sans"/>
            </a:endParaRPr>
          </a:p>
        </p:txBody>
      </p:sp>
      <p:sp>
        <p:nvSpPr>
          <p:cNvPr id="4" name="Title 1"/>
          <p:cNvSpPr>
            <a:spLocks noGrp="1"/>
          </p:cNvSpPr>
          <p:nvPr>
            <p:ph type="title"/>
          </p:nvPr>
        </p:nvSpPr>
        <p:spPr>
          <a:xfrm>
            <a:off x="1689100" y="914400"/>
            <a:ext cx="21005800" cy="1676400"/>
          </a:xfrm>
        </p:spPr>
        <p:txBody>
          <a:bodyPr/>
          <a:lstStyle/>
          <a:p>
            <a:r>
              <a:rPr lang="en-US" b="1" dirty="0" smtClean="0">
                <a:latin typeface="Proxima Nova"/>
                <a:cs typeface="Proxima Nova"/>
              </a:rPr>
              <a:t>B2B and Lead Generation</a:t>
            </a:r>
            <a:endParaRPr lang="en-US" b="1" dirty="0">
              <a:solidFill>
                <a:schemeClr val="accent5"/>
              </a:solidFill>
              <a:latin typeface="Proxima Nova"/>
              <a:cs typeface="Proxima Nova"/>
            </a:endParaRPr>
          </a:p>
        </p:txBody>
      </p:sp>
      <p:graphicFrame>
        <p:nvGraphicFramePr>
          <p:cNvPr id="6" name="Diagram 5"/>
          <p:cNvGraphicFramePr/>
          <p:nvPr>
            <p:extLst>
              <p:ext uri="{D42A27DB-BD31-4B8C-83A1-F6EECF244321}">
                <p14:modId xmlns:p14="http://schemas.microsoft.com/office/powerpoint/2010/main" val="3622801975"/>
              </p:ext>
            </p:extLst>
          </p:nvPr>
        </p:nvGraphicFramePr>
        <p:xfrm>
          <a:off x="1016637" y="2936561"/>
          <a:ext cx="22540289" cy="10287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8575216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Shape 63"/>
          <p:cNvSpPr/>
          <p:nvPr/>
        </p:nvSpPr>
        <p:spPr>
          <a:xfrm>
            <a:off x="1059378" y="6020662"/>
            <a:ext cx="22265246" cy="1210588"/>
          </a:xfrm>
          <a:prstGeom prst="rect">
            <a:avLst/>
          </a:prstGeom>
          <a:ln w="12700">
            <a:miter lim="400000"/>
          </a:ln>
          <a:extLst>
            <a:ext uri="{C572A759-6A51-4108-AA02-DFA0A04FC94B}">
              <ma14:wrappingTextBoxFlag xmlns:ma14="http://schemas.microsoft.com/office/mac/drawingml/2011/main" val="1"/>
            </a:ext>
          </a:extLst>
        </p:spPr>
        <p:txBody>
          <a:bodyPr wrap="square" lIns="50800" tIns="50800" rIns="50800" bIns="50800" anchor="ctr">
            <a:spAutoFit/>
          </a:bodyPr>
          <a:lstStyle>
            <a:lvl1pPr>
              <a:lnSpc>
                <a:spcPct val="100000"/>
              </a:lnSpc>
              <a:defRPr sz="12000" spc="-239">
                <a:solidFill>
                  <a:srgbClr val="FFFFFF"/>
                </a:solidFill>
                <a:latin typeface="+mj-lt"/>
                <a:ea typeface="+mj-ea"/>
                <a:cs typeface="+mj-cs"/>
                <a:sym typeface="Verdana Bold"/>
              </a:defRPr>
            </a:lvl1pPr>
          </a:lstStyle>
          <a:p>
            <a:pPr lvl="0" algn="l">
              <a:defRPr sz="1800" spc="0">
                <a:solidFill>
                  <a:srgbClr val="000000"/>
                </a:solidFill>
              </a:defRPr>
            </a:pPr>
            <a:r>
              <a:rPr lang="en-US" sz="7200" b="1" spc="-239" dirty="0" smtClean="0">
                <a:solidFill>
                  <a:srgbClr val="FFFFFF"/>
                </a:solidFill>
                <a:effectLst/>
                <a:latin typeface="Proxima Nova"/>
                <a:cs typeface="Proxima Nova"/>
              </a:rPr>
              <a:t>Goal mapping</a:t>
            </a:r>
            <a:endParaRPr sz="7200" b="1" spc="-239" dirty="0">
              <a:solidFill>
                <a:srgbClr val="FFFFFF"/>
              </a:solidFill>
              <a:effectLst/>
              <a:latin typeface="Proxima Nova"/>
              <a:cs typeface="Proxima Nova"/>
            </a:endParaRPr>
          </a:p>
        </p:txBody>
      </p:sp>
      <p:sp>
        <p:nvSpPr>
          <p:cNvPr id="2" name="Rectangle 1"/>
          <p:cNvSpPr/>
          <p:nvPr/>
        </p:nvSpPr>
        <p:spPr>
          <a:xfrm>
            <a:off x="12099667" y="6632297"/>
            <a:ext cx="184666" cy="451406"/>
          </a:xfrm>
          <a:prstGeom prst="rect">
            <a:avLst/>
          </a:prstGeom>
        </p:spPr>
        <p:txBody>
          <a:bodyPr wrap="none">
            <a:spAutoFit/>
          </a:bodyPr>
          <a:lstStyle/>
          <a:p>
            <a:r>
              <a:rPr lang="en-US" dirty="0"/>
              <a:t> </a:t>
            </a:r>
          </a:p>
        </p:txBody>
      </p:sp>
      <p:sp>
        <p:nvSpPr>
          <p:cNvPr id="3" name="Rectangle 2"/>
          <p:cNvSpPr/>
          <p:nvPr/>
        </p:nvSpPr>
        <p:spPr>
          <a:xfrm>
            <a:off x="12099667" y="6632297"/>
            <a:ext cx="184666" cy="451406"/>
          </a:xfrm>
          <a:prstGeom prst="rect">
            <a:avLst/>
          </a:prstGeom>
        </p:spPr>
        <p:txBody>
          <a:bodyPr wrap="none">
            <a:spAutoFit/>
          </a:bodyPr>
          <a:lstStyle/>
          <a:p>
            <a:r>
              <a:rPr lang="en-US" dirty="0"/>
              <a:t> </a:t>
            </a:r>
          </a:p>
        </p:txBody>
      </p:sp>
      <p:sp>
        <p:nvSpPr>
          <p:cNvPr id="4" name="Rectangle 3"/>
          <p:cNvSpPr/>
          <p:nvPr/>
        </p:nvSpPr>
        <p:spPr>
          <a:xfrm>
            <a:off x="990600" y="7390158"/>
            <a:ext cx="12573000" cy="2439642"/>
          </a:xfrm>
          <a:prstGeom prst="rect">
            <a:avLst/>
          </a:prstGeom>
        </p:spPr>
        <p:txBody>
          <a:bodyPr wrap="square">
            <a:spAutoFit/>
          </a:bodyPr>
          <a:lstStyle/>
          <a:p>
            <a:pPr algn="l">
              <a:spcBef>
                <a:spcPts val="0"/>
              </a:spcBef>
            </a:pPr>
            <a:r>
              <a:rPr lang="en-US" sz="3200" dirty="0" smtClean="0">
                <a:solidFill>
                  <a:schemeClr val="bg2"/>
                </a:solidFill>
                <a:latin typeface="Proxima Nova"/>
                <a:ea typeface="Gill Sans Light"/>
                <a:cs typeface="Proxima Nova"/>
                <a:sym typeface="Gill Sans Light"/>
              </a:rPr>
              <a:t>Once you identify the KPIs your program will target directly, you’ll be able to hypothesize strategies and tactics that make an impact. Use strategies and tactics to create meaningful experiments and campaigns.</a:t>
            </a:r>
            <a:endParaRPr lang="en-US" sz="3200" dirty="0">
              <a:solidFill>
                <a:schemeClr val="bg2"/>
              </a:solidFill>
              <a:latin typeface="Proxima Nova"/>
              <a:cs typeface="Proxima Nova"/>
            </a:endParaRPr>
          </a:p>
        </p:txBody>
      </p:sp>
    </p:spTree>
    <p:extLst>
      <p:ext uri="{BB962C8B-B14F-4D97-AF65-F5344CB8AC3E}">
        <p14:creationId xmlns:p14="http://schemas.microsoft.com/office/powerpoint/2010/main" val="128508880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ext uri="{D42A27DB-BD31-4B8C-83A1-F6EECF244321}">
                <p14:modId xmlns:p14="http://schemas.microsoft.com/office/powerpoint/2010/main" val="1385399769"/>
              </p:ext>
            </p:extLst>
          </p:nvPr>
        </p:nvGraphicFramePr>
        <p:xfrm>
          <a:off x="3581400" y="0"/>
          <a:ext cx="20345399" cy="13716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tangle 9"/>
          <p:cNvSpPr/>
          <p:nvPr/>
        </p:nvSpPr>
        <p:spPr>
          <a:xfrm>
            <a:off x="0" y="11125503"/>
            <a:ext cx="3475913" cy="25904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82907" tIns="91454" rIns="182907" bIns="91454" rtlCol="0" anchor="ctr"/>
          <a:lstStyle/>
          <a:p>
            <a:pPr algn="ctr"/>
            <a:endParaRPr lang="en-US"/>
          </a:p>
        </p:txBody>
      </p:sp>
      <p:sp>
        <p:nvSpPr>
          <p:cNvPr id="11" name="Down Arrow 10"/>
          <p:cNvSpPr/>
          <p:nvPr>
            <p:custDataLst>
              <p:tags r:id="rId1"/>
            </p:custDataLst>
          </p:nvPr>
        </p:nvSpPr>
        <p:spPr bwMode="gray">
          <a:xfrm>
            <a:off x="153591" y="607695"/>
            <a:ext cx="2652081" cy="3049905"/>
          </a:xfrm>
          <a:prstGeom prst="downArrow">
            <a:avLst>
              <a:gd name="adj1" fmla="val 100000"/>
              <a:gd name="adj2" fmla="val 26676"/>
            </a:avLst>
          </a:prstGeom>
          <a:solidFill>
            <a:schemeClr val="accent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183235" rIns="0" bIns="320648" anchor="ctr"/>
          <a:lstStyle/>
          <a:p>
            <a:pPr algn="ctr">
              <a:defRPr/>
            </a:pPr>
            <a:r>
              <a:rPr lang="en-US" sz="3200" b="1" dirty="0" smtClean="0">
                <a:solidFill>
                  <a:srgbClr val="FFFFFF"/>
                </a:solidFill>
                <a:effectLst>
                  <a:outerShdw blurRad="50800" dist="38100" dir="2700000" algn="tl" rotWithShape="0">
                    <a:prstClr val="black">
                      <a:alpha val="40000"/>
                    </a:prstClr>
                  </a:outerShdw>
                </a:effectLst>
                <a:latin typeface="Verdana"/>
                <a:cs typeface="Verdana"/>
                <a:sym typeface="Arial"/>
              </a:rPr>
              <a:t>Goals</a:t>
            </a:r>
          </a:p>
          <a:p>
            <a:pPr algn="ctr">
              <a:defRPr/>
            </a:pPr>
            <a:endParaRPr lang="en-US" b="1" dirty="0">
              <a:solidFill>
                <a:srgbClr val="FFFFFF"/>
              </a:solidFill>
              <a:effectLst>
                <a:outerShdw blurRad="50800" dist="38100" dir="2700000" algn="tl" rotWithShape="0">
                  <a:prstClr val="black">
                    <a:alpha val="40000"/>
                  </a:prstClr>
                </a:outerShdw>
              </a:effectLst>
              <a:latin typeface="Verdana"/>
              <a:cs typeface="Verdana"/>
              <a:sym typeface="Arial"/>
            </a:endParaRPr>
          </a:p>
        </p:txBody>
      </p:sp>
      <p:sp>
        <p:nvSpPr>
          <p:cNvPr id="12" name="Chevron 11"/>
          <p:cNvSpPr/>
          <p:nvPr>
            <p:custDataLst>
              <p:tags r:id="rId2"/>
            </p:custDataLst>
          </p:nvPr>
        </p:nvSpPr>
        <p:spPr bwMode="auto">
          <a:xfrm rot="5400000">
            <a:off x="-135943" y="3258646"/>
            <a:ext cx="3233138" cy="2649548"/>
          </a:xfrm>
          <a:prstGeom prst="chevron">
            <a:avLst>
              <a:gd name="adj" fmla="val 26536"/>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dirty="0">
              <a:solidFill>
                <a:schemeClr val="tx1"/>
              </a:solidFill>
              <a:latin typeface="Arial" pitchFamily="34" charset="0"/>
              <a:cs typeface="Arial" pitchFamily="34" charset="0"/>
            </a:endParaRPr>
          </a:p>
        </p:txBody>
      </p:sp>
      <p:sp>
        <p:nvSpPr>
          <p:cNvPr id="13" name="Rectangle 12"/>
          <p:cNvSpPr/>
          <p:nvPr>
            <p:custDataLst>
              <p:tags r:id="rId3"/>
            </p:custDataLst>
          </p:nvPr>
        </p:nvSpPr>
        <p:spPr bwMode="gray">
          <a:xfrm>
            <a:off x="155853" y="3657600"/>
            <a:ext cx="2620706" cy="1676399"/>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Strategies</a:t>
            </a:r>
          </a:p>
        </p:txBody>
      </p:sp>
      <p:sp>
        <p:nvSpPr>
          <p:cNvPr id="14" name="Chevron 13"/>
          <p:cNvSpPr/>
          <p:nvPr>
            <p:custDataLst>
              <p:tags r:id="rId4"/>
            </p:custDataLst>
          </p:nvPr>
        </p:nvSpPr>
        <p:spPr bwMode="auto">
          <a:xfrm rot="5400000">
            <a:off x="-2565248" y="8040554"/>
            <a:ext cx="8091743" cy="2649548"/>
          </a:xfrm>
          <a:prstGeom prst="chevron">
            <a:avLst>
              <a:gd name="adj" fmla="val 26676"/>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sz="4000" dirty="0">
              <a:solidFill>
                <a:schemeClr val="tx1"/>
              </a:solidFill>
              <a:latin typeface="Arial" pitchFamily="34" charset="0"/>
              <a:cs typeface="Arial" pitchFamily="34" charset="0"/>
            </a:endParaRPr>
          </a:p>
        </p:txBody>
      </p:sp>
      <p:sp>
        <p:nvSpPr>
          <p:cNvPr id="15" name="Rectangle 14"/>
          <p:cNvSpPr/>
          <p:nvPr>
            <p:custDataLst>
              <p:tags r:id="rId5"/>
            </p:custDataLst>
          </p:nvPr>
        </p:nvSpPr>
        <p:spPr bwMode="gray">
          <a:xfrm>
            <a:off x="155853" y="6019800"/>
            <a:ext cx="2620706" cy="6705600"/>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Tactics</a:t>
            </a:r>
          </a:p>
        </p:txBody>
      </p:sp>
      <p:sp>
        <p:nvSpPr>
          <p:cNvPr id="9" name="Title 1"/>
          <p:cNvSpPr>
            <a:spLocks noGrp="1"/>
          </p:cNvSpPr>
          <p:nvPr>
            <p:ph type="title"/>
          </p:nvPr>
        </p:nvSpPr>
        <p:spPr>
          <a:xfrm>
            <a:off x="16306800" y="457200"/>
            <a:ext cx="7467600" cy="2286000"/>
          </a:xfrm>
        </p:spPr>
        <p:txBody>
          <a:bodyPr/>
          <a:lstStyle/>
          <a:p>
            <a:r>
              <a:rPr lang="en-US" dirty="0" smtClean="0"/>
              <a:t>Goal Mapping</a:t>
            </a:r>
            <a:endParaRPr lang="en-US" dirty="0"/>
          </a:p>
        </p:txBody>
      </p:sp>
    </p:spTree>
    <p:extLst>
      <p:ext uri="{BB962C8B-B14F-4D97-AF65-F5344CB8AC3E}">
        <p14:creationId xmlns:p14="http://schemas.microsoft.com/office/powerpoint/2010/main" val="3200799427"/>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half" idx="1"/>
            <p:extLst>
              <p:ext uri="{D42A27DB-BD31-4B8C-83A1-F6EECF244321}">
                <p14:modId xmlns:p14="http://schemas.microsoft.com/office/powerpoint/2010/main" val="2804036383"/>
              </p:ext>
            </p:extLst>
          </p:nvPr>
        </p:nvGraphicFramePr>
        <p:xfrm>
          <a:off x="3581400" y="0"/>
          <a:ext cx="20345399" cy="13716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ectangle 9"/>
          <p:cNvSpPr/>
          <p:nvPr/>
        </p:nvSpPr>
        <p:spPr>
          <a:xfrm>
            <a:off x="0" y="11125503"/>
            <a:ext cx="3475913" cy="259049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82907" tIns="91454" rIns="182907" bIns="91454" rtlCol="0" anchor="ctr"/>
          <a:lstStyle/>
          <a:p>
            <a:pPr algn="ctr"/>
            <a:endParaRPr lang="en-US"/>
          </a:p>
        </p:txBody>
      </p:sp>
      <p:sp>
        <p:nvSpPr>
          <p:cNvPr id="11" name="Down Arrow 10"/>
          <p:cNvSpPr/>
          <p:nvPr>
            <p:custDataLst>
              <p:tags r:id="rId1"/>
            </p:custDataLst>
          </p:nvPr>
        </p:nvSpPr>
        <p:spPr bwMode="gray">
          <a:xfrm>
            <a:off x="153591" y="607695"/>
            <a:ext cx="2652081" cy="3049905"/>
          </a:xfrm>
          <a:prstGeom prst="downArrow">
            <a:avLst>
              <a:gd name="adj1" fmla="val 100000"/>
              <a:gd name="adj2" fmla="val 26676"/>
            </a:avLst>
          </a:prstGeom>
          <a:solidFill>
            <a:schemeClr val="accent1">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1183235" rIns="0" bIns="320648" anchor="ctr"/>
          <a:lstStyle/>
          <a:p>
            <a:pPr algn="ctr">
              <a:defRPr/>
            </a:pPr>
            <a:r>
              <a:rPr lang="en-US" sz="3200" b="1" dirty="0" smtClean="0">
                <a:solidFill>
                  <a:srgbClr val="FFFFFF"/>
                </a:solidFill>
                <a:effectLst>
                  <a:outerShdw blurRad="50800" dist="38100" dir="2700000" algn="tl" rotWithShape="0">
                    <a:prstClr val="black">
                      <a:alpha val="40000"/>
                    </a:prstClr>
                  </a:outerShdw>
                </a:effectLst>
                <a:latin typeface="Verdana"/>
                <a:cs typeface="Verdana"/>
                <a:sym typeface="Arial"/>
              </a:rPr>
              <a:t>Goals</a:t>
            </a:r>
          </a:p>
          <a:p>
            <a:pPr algn="ctr">
              <a:defRPr/>
            </a:pPr>
            <a:endParaRPr lang="en-US" b="1" dirty="0">
              <a:solidFill>
                <a:srgbClr val="FFFFFF"/>
              </a:solidFill>
              <a:effectLst>
                <a:outerShdw blurRad="50800" dist="38100" dir="2700000" algn="tl" rotWithShape="0">
                  <a:prstClr val="black">
                    <a:alpha val="40000"/>
                  </a:prstClr>
                </a:outerShdw>
              </a:effectLst>
              <a:latin typeface="Verdana"/>
              <a:cs typeface="Verdana"/>
              <a:sym typeface="Arial"/>
            </a:endParaRPr>
          </a:p>
        </p:txBody>
      </p:sp>
      <p:sp>
        <p:nvSpPr>
          <p:cNvPr id="12" name="Chevron 11"/>
          <p:cNvSpPr/>
          <p:nvPr>
            <p:custDataLst>
              <p:tags r:id="rId2"/>
            </p:custDataLst>
          </p:nvPr>
        </p:nvSpPr>
        <p:spPr bwMode="auto">
          <a:xfrm rot="5400000">
            <a:off x="-135943" y="3258646"/>
            <a:ext cx="3233138" cy="2649548"/>
          </a:xfrm>
          <a:prstGeom prst="chevron">
            <a:avLst>
              <a:gd name="adj" fmla="val 26536"/>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dirty="0">
              <a:solidFill>
                <a:schemeClr val="tx1"/>
              </a:solidFill>
              <a:latin typeface="Arial" pitchFamily="34" charset="0"/>
              <a:cs typeface="Arial" pitchFamily="34" charset="0"/>
            </a:endParaRPr>
          </a:p>
        </p:txBody>
      </p:sp>
      <p:sp>
        <p:nvSpPr>
          <p:cNvPr id="13" name="Rectangle 12"/>
          <p:cNvSpPr/>
          <p:nvPr>
            <p:custDataLst>
              <p:tags r:id="rId3"/>
            </p:custDataLst>
          </p:nvPr>
        </p:nvSpPr>
        <p:spPr bwMode="gray">
          <a:xfrm>
            <a:off x="155853" y="3657600"/>
            <a:ext cx="2620706" cy="1676399"/>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Strategies</a:t>
            </a:r>
          </a:p>
        </p:txBody>
      </p:sp>
      <p:sp>
        <p:nvSpPr>
          <p:cNvPr id="14" name="Chevron 13"/>
          <p:cNvSpPr/>
          <p:nvPr>
            <p:custDataLst>
              <p:tags r:id="rId4"/>
            </p:custDataLst>
          </p:nvPr>
        </p:nvSpPr>
        <p:spPr bwMode="auto">
          <a:xfrm rot="5400000">
            <a:off x="-2565248" y="8040554"/>
            <a:ext cx="8091743" cy="2649548"/>
          </a:xfrm>
          <a:prstGeom prst="chevron">
            <a:avLst>
              <a:gd name="adj" fmla="val 26676"/>
            </a:avLst>
          </a:prstGeom>
          <a:solidFill>
            <a:schemeClr val="accent1">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60131" tIns="130066" rIns="260131" bIns="130066" anchor="ctr"/>
          <a:lstStyle/>
          <a:p>
            <a:pPr algn="ctr">
              <a:defRPr/>
            </a:pPr>
            <a:endParaRPr lang="en-US" sz="4000" dirty="0">
              <a:solidFill>
                <a:schemeClr val="tx1"/>
              </a:solidFill>
              <a:latin typeface="Arial" pitchFamily="34" charset="0"/>
              <a:cs typeface="Arial" pitchFamily="34" charset="0"/>
            </a:endParaRPr>
          </a:p>
        </p:txBody>
      </p:sp>
      <p:sp>
        <p:nvSpPr>
          <p:cNvPr id="15" name="Rectangle 14"/>
          <p:cNvSpPr/>
          <p:nvPr>
            <p:custDataLst>
              <p:tags r:id="rId5"/>
            </p:custDataLst>
          </p:nvPr>
        </p:nvSpPr>
        <p:spPr bwMode="gray">
          <a:xfrm>
            <a:off x="155853" y="6019800"/>
            <a:ext cx="2620706" cy="6705600"/>
          </a:xfrm>
          <a:prstGeom prst="rect">
            <a:avLst/>
          </a:prstGeom>
          <a:noFill/>
          <a:ln>
            <a:noFill/>
          </a:ln>
          <a:extLst/>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3200" b="1" dirty="0">
                <a:solidFill>
                  <a:schemeClr val="bg1"/>
                </a:solidFill>
                <a:effectLst>
                  <a:outerShdw blurRad="50800" dist="38100" dir="2700000" algn="tl" rotWithShape="0">
                    <a:prstClr val="black">
                      <a:alpha val="40000"/>
                    </a:prstClr>
                  </a:outerShdw>
                </a:effectLst>
                <a:latin typeface="Verdana"/>
                <a:cs typeface="Verdana"/>
                <a:sym typeface="Arial"/>
              </a:rPr>
              <a:t>Tactics</a:t>
            </a:r>
          </a:p>
        </p:txBody>
      </p:sp>
      <p:sp>
        <p:nvSpPr>
          <p:cNvPr id="9" name="Title 1"/>
          <p:cNvSpPr>
            <a:spLocks noGrp="1"/>
          </p:cNvSpPr>
          <p:nvPr>
            <p:ph type="title"/>
          </p:nvPr>
        </p:nvSpPr>
        <p:spPr>
          <a:xfrm>
            <a:off x="16306800" y="457200"/>
            <a:ext cx="7467600" cy="2286000"/>
          </a:xfrm>
        </p:spPr>
        <p:txBody>
          <a:bodyPr/>
          <a:lstStyle/>
          <a:p>
            <a:r>
              <a:rPr lang="en-US" dirty="0" smtClean="0"/>
              <a:t>Goal Mapping</a:t>
            </a:r>
            <a:endParaRPr lang="en-US" dirty="0"/>
          </a:p>
        </p:txBody>
      </p:sp>
    </p:spTree>
    <p:extLst>
      <p:ext uri="{BB962C8B-B14F-4D97-AF65-F5344CB8AC3E}">
        <p14:creationId xmlns:p14="http://schemas.microsoft.com/office/powerpoint/2010/main" val="2569335686"/>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JtIVLfA2t0.hPw06Am6g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450hYvsgkWCewzOavu6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FGSqdUgbEqEiK_myTIy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X0JdPuAMEafPEy95bhz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vJ5QSmknk.9FSXWpFz_7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450hYvsgkWCewzOavu6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tIVLfA2t0.hPw06Am6gc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FGSqdUgbEqEiK_myTIy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X0JdPuAMEafPEy95bhz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ZvJ5QSmknk.9FSXWpFz_7g"/>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White">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2.xml><?xml version="1.0" encoding="utf-8"?>
<a:theme xmlns:a="http://schemas.openxmlformats.org/drawingml/2006/main" name="White - Title &amp; Subtitle">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 Title &amp; Subtitle">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3.xml><?xml version="1.0" encoding="utf-8"?>
<a:theme xmlns:a="http://schemas.openxmlformats.org/drawingml/2006/main" name="White - Optimizely">
  <a:themeElements>
    <a:clrScheme name="">
      <a:dk1>
        <a:srgbClr val="202020"/>
      </a:dk1>
      <a:lt1>
        <a:srgbClr val="FFFFFF"/>
      </a:lt1>
      <a:dk2>
        <a:srgbClr val="53585F"/>
      </a:dk2>
      <a:lt2>
        <a:srgbClr val="DCDEE0"/>
      </a:lt2>
      <a:accent1>
        <a:srgbClr val="0365C0"/>
      </a:accent1>
      <a:accent2>
        <a:srgbClr val="00882B"/>
      </a:accent2>
      <a:accent3>
        <a:srgbClr val="FFFFFF"/>
      </a:accent3>
      <a:accent4>
        <a:srgbClr val="1A1A1A"/>
      </a:accent4>
      <a:accent5>
        <a:srgbClr val="AAB8DC"/>
      </a:accent5>
      <a:accent6>
        <a:srgbClr val="007B26"/>
      </a:accent6>
      <a:hlink>
        <a:srgbClr val="0000FF"/>
      </a:hlink>
      <a:folHlink>
        <a:srgbClr val="FF00FF"/>
      </a:folHlink>
    </a:clrScheme>
    <a:fontScheme name="White - Optimizely">
      <a:majorFont>
        <a:latin typeface="Verdana"/>
        <a:ea typeface="ＭＳ Ｐゴシック"/>
        <a:cs typeface="Verdana"/>
      </a:majorFont>
      <a:minorFont>
        <a:latin typeface="Verdana"/>
        <a:ea typeface="ＭＳ Ｐゴシック"/>
        <a:cs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spDef>
    <a:lnDef>
      <a:spPr bwMode="auto">
        <a:xfrm>
          <a:off x="0" y="0"/>
          <a:ext cx="1" cy="1"/>
        </a:xfrm>
        <a:custGeom>
          <a:avLst/>
          <a:gdLst/>
          <a:ahLst/>
          <a:cxnLst/>
          <a:rect l="0" t="0" r="0" b="0"/>
          <a:pathLst/>
        </a:custGeom>
        <a:blipFill dpi="0" rotWithShape="0">
          <a:blip xmlns:r="http://schemas.openxmlformats.org/officeDocument/2006/relationships" r:embed="rId1"/>
          <a:srcRect/>
          <a:tile tx="0" ty="0" sx="100000" sy="100000" flip="none" algn="tl"/>
        </a:blipFill>
        <a:ln w="25400" cap="flat" cmpd="sng" algn="ctr">
          <a:solidFill>
            <a:srgbClr val="000000"/>
          </a:solidFill>
          <a:prstDash val="solid"/>
          <a:miter lim="0"/>
          <a:headEnd type="none" w="med" len="med"/>
          <a:tailEnd type="none" w="med" len="med"/>
        </a:ln>
        <a:effectLst>
          <a:outerShdw blurRad="38100" dist="25400" dir="5400000" algn="ctr" rotWithShape="0">
            <a:srgbClr val="000000">
              <a:alpha val="50000"/>
            </a:srgbClr>
          </a:outerShdw>
        </a:effectLst>
      </a:spPr>
      <a:bodyPr vert="horz" wrap="square" lIns="50800" tIns="50800" rIns="50800" bIns="50800" numCol="1" anchor="ctr" anchorCtr="0" compatLnSpc="1">
        <a:prstTxWarp prst="textNoShape">
          <a:avLst/>
        </a:prstTxWarp>
        <a:spAutoFit/>
      </a:bodyPr>
      <a:lstStyle>
        <a:defPPr marL="0" marR="0" indent="0" algn="ctr" defTabSz="825500" rtl="0" eaLnBrk="1" fontAlgn="base" latinLnBrk="0" hangingPunct="0">
          <a:lnSpc>
            <a:spcPct val="120000"/>
          </a:lnSpc>
          <a:spcBef>
            <a:spcPct val="0"/>
          </a:spcBef>
          <a:spcAft>
            <a:spcPct val="0"/>
          </a:spcAft>
          <a:buClrTx/>
          <a:buSzTx/>
          <a:buFontTx/>
          <a:buNone/>
          <a:tabLst/>
          <a:defRPr kumimoji="0" lang="en-US" sz="2000" b="0" i="0" u="none" strike="noStrike" cap="none" normalizeH="0" baseline="0">
            <a:ln>
              <a:noFill/>
            </a:ln>
            <a:solidFill>
              <a:srgbClr val="202020"/>
            </a:solidFill>
            <a:effectLst/>
            <a:latin typeface="Verdana" charset="0"/>
            <a:ea typeface="ＭＳ Ｐゴシック" charset="0"/>
            <a:cs typeface="Verdana" charset="0"/>
            <a:sym typeface="Verdana" charset="0"/>
          </a:defRPr>
        </a:defPPr>
      </a:lst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53585F"/>
      </a:dk2>
      <a:lt2>
        <a:srgbClr val="DCDEE0"/>
      </a:lt2>
      <a:accent1>
        <a:srgbClr val="0365C0"/>
      </a:accent1>
      <a:accent2>
        <a:srgbClr val="00882B"/>
      </a:accent2>
      <a:accent3>
        <a:srgbClr val="FFFFFF"/>
      </a:accent3>
      <a:accent4>
        <a:srgbClr val="000000"/>
      </a:accent4>
      <a:accent5>
        <a:srgbClr val="AAB8DC"/>
      </a:accent5>
      <a:accent6>
        <a:srgbClr val="007B26"/>
      </a:accent6>
      <a:hlink>
        <a:srgbClr val="0000FF"/>
      </a:hlink>
      <a:folHlink>
        <a:srgbClr val="FF00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1868</TotalTime>
  <Words>731</Words>
  <Application>Microsoft Macintosh PowerPoint</Application>
  <PresentationFormat>Custom</PresentationFormat>
  <Paragraphs>123</Paragraphs>
  <Slides>9</Slides>
  <Notes>0</Notes>
  <HiddenSlides>0</HiddenSlides>
  <MMClips>0</MMClips>
  <ScaleCrop>false</ScaleCrop>
  <HeadingPairs>
    <vt:vector size="4" baseType="variant">
      <vt:variant>
        <vt:lpstr>Theme</vt:lpstr>
      </vt:variant>
      <vt:variant>
        <vt:i4>3</vt:i4>
      </vt:variant>
      <vt:variant>
        <vt:lpstr>Slide Titles</vt:lpstr>
      </vt:variant>
      <vt:variant>
        <vt:i4>9</vt:i4>
      </vt:variant>
    </vt:vector>
  </HeadingPairs>
  <TitlesOfParts>
    <vt:vector size="12" baseType="lpstr">
      <vt:lpstr>White</vt:lpstr>
      <vt:lpstr>White - Title &amp; Subtitle</vt:lpstr>
      <vt:lpstr>White - Optimizely</vt:lpstr>
      <vt:lpstr>Goal tree  B2B and LEAD GENERATION</vt:lpstr>
      <vt:lpstr>Before you build a goal tree, let’s take a look at the structure behind it.   Goal trees help you define the strategic KPIs that your program will optimize through testing and personalization.  Notice how the company-level metric cascades directly into experiment-level goals.</vt:lpstr>
      <vt:lpstr>EXAMPLE</vt:lpstr>
      <vt:lpstr>PowerPoint Presentation</vt:lpstr>
      <vt:lpstr>B2B and Lead Generation</vt:lpstr>
      <vt:lpstr>PowerPoint Presentation</vt:lpstr>
      <vt:lpstr>Goal Mapping</vt:lpstr>
      <vt:lpstr>Goal Mapping</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Yeesheen Yang</cp:lastModifiedBy>
  <cp:revision>216</cp:revision>
  <dcterms:modified xsi:type="dcterms:W3CDTF">2016-05-06T01:16:57Z</dcterms:modified>
</cp:coreProperties>
</file>